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6.xml" ContentType="application/vnd.openxmlformats-officedocument.theme+xml"/>
  <Override PartName="/ppt/tags/tag13.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4741" r:id="rId2"/>
    <p:sldMasterId id="2147485300" r:id="rId3"/>
    <p:sldMasterId id="2147485401" r:id="rId4"/>
    <p:sldMasterId id="2147485426" r:id="rId5"/>
    <p:sldMasterId id="2147485574" r:id="rId6"/>
  </p:sldMasterIdLst>
  <p:notesMasterIdLst>
    <p:notesMasterId r:id="rId21"/>
  </p:notesMasterIdLst>
  <p:handoutMasterIdLst>
    <p:handoutMasterId r:id="rId22"/>
  </p:handoutMasterIdLst>
  <p:sldIdLst>
    <p:sldId id="929" r:id="rId7"/>
    <p:sldId id="833" r:id="rId8"/>
    <p:sldId id="935" r:id="rId9"/>
    <p:sldId id="939" r:id="rId10"/>
    <p:sldId id="933" r:id="rId11"/>
    <p:sldId id="934" r:id="rId12"/>
    <p:sldId id="936" r:id="rId13"/>
    <p:sldId id="932" r:id="rId14"/>
    <p:sldId id="930" r:id="rId15"/>
    <p:sldId id="937" r:id="rId16"/>
    <p:sldId id="940" r:id="rId17"/>
    <p:sldId id="942" r:id="rId18"/>
    <p:sldId id="941" r:id="rId19"/>
    <p:sldId id="931" r:id="rId20"/>
  </p:sldIdLst>
  <p:sldSz cx="6858000" cy="9144000" type="screen4x3"/>
  <p:notesSz cx="6797675" cy="9926638"/>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userDrawn="1">
          <p15:clr>
            <a:srgbClr val="A4A3A4"/>
          </p15:clr>
        </p15:guide>
      </p15:sldGuideLst>
    </p:ext>
    <p:ext uri="{2D200454-40CA-4A62-9FC3-DE9A4176ACB9}">
      <p15:notesGuideLst xmlns:p15="http://schemas.microsoft.com/office/powerpoint/2012/main">
        <p15:guide id="1" orient="horz" pos="3125" userDrawn="1">
          <p15:clr>
            <a:srgbClr val="A4A3A4"/>
          </p15:clr>
        </p15:guide>
        <p15:guide id="2" pos="2139" userDrawn="1">
          <p15:clr>
            <a:srgbClr val="A4A3A4"/>
          </p15:clr>
        </p15:guide>
        <p15:guide id="3" orient="horz" pos="3126" userDrawn="1">
          <p15:clr>
            <a:srgbClr val="A4A3A4"/>
          </p15:clr>
        </p15:guide>
        <p15:guide id="4"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u, Alan (Singapore)" initials="AY"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0000FF"/>
    <a:srgbClr val="FFFF00"/>
    <a:srgbClr val="FFFFFF"/>
    <a:srgbClr val="000000"/>
    <a:srgbClr val="C9F0FF"/>
    <a:srgbClr val="F05A8A"/>
    <a:srgbClr val="F7ACBD"/>
    <a:srgbClr val="A49066"/>
    <a:srgbClr val="1629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36" autoAdjust="0"/>
    <p:restoredTop sz="93772" autoAdjust="0"/>
  </p:normalViewPr>
  <p:slideViewPr>
    <p:cSldViewPr snapToGrid="0">
      <p:cViewPr varScale="1">
        <p:scale>
          <a:sx n="86" d="100"/>
          <a:sy n="86" d="100"/>
        </p:scale>
        <p:origin x="4068" y="96"/>
      </p:cViewPr>
      <p:guideLst>
        <p:guide orient="horz"/>
        <p:guide/>
      </p:guideLst>
    </p:cSldViewPr>
  </p:slideViewPr>
  <p:outlineViewPr>
    <p:cViewPr>
      <p:scale>
        <a:sx n="33" d="100"/>
        <a:sy n="33" d="100"/>
      </p:scale>
      <p:origin x="0" y="3822"/>
    </p:cViewPr>
  </p:outlineViewPr>
  <p:notesTextViewPr>
    <p:cViewPr>
      <p:scale>
        <a:sx n="1" d="1"/>
        <a:sy n="1" d="1"/>
      </p:scale>
      <p:origin x="0" y="0"/>
    </p:cViewPr>
  </p:notesTextViewPr>
  <p:sorterViewPr>
    <p:cViewPr>
      <p:scale>
        <a:sx n="75" d="100"/>
        <a:sy n="75" d="100"/>
      </p:scale>
      <p:origin x="0" y="0"/>
    </p:cViewPr>
  </p:sorterViewPr>
  <p:notesViewPr>
    <p:cSldViewPr snapToGrid="0">
      <p:cViewPr varScale="1">
        <p:scale>
          <a:sx n="51" d="100"/>
          <a:sy n="51" d="100"/>
        </p:scale>
        <p:origin x="-3006" y="-108"/>
      </p:cViewPr>
      <p:guideLst>
        <p:guide orient="horz" pos="3125"/>
        <p:guide pos="2139"/>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135" cy="496253"/>
          </a:xfrm>
          <a:prstGeom prst="rect">
            <a:avLst/>
          </a:prstGeom>
        </p:spPr>
        <p:txBody>
          <a:bodyPr vert="horz" lIns="91312" tIns="45656" rIns="91312" bIns="45656" rtlCol="0"/>
          <a:lstStyle>
            <a:lvl1pPr algn="l">
              <a:defRPr sz="1200"/>
            </a:lvl1pPr>
          </a:lstStyle>
          <a:p>
            <a:endParaRPr lang="en-US" dirty="0"/>
          </a:p>
        </p:txBody>
      </p:sp>
      <p:sp>
        <p:nvSpPr>
          <p:cNvPr id="3" name="Date Placeholder 2"/>
          <p:cNvSpPr>
            <a:spLocks noGrp="1"/>
          </p:cNvSpPr>
          <p:nvPr>
            <p:ph type="dt" sz="quarter" idx="1"/>
          </p:nvPr>
        </p:nvSpPr>
        <p:spPr>
          <a:xfrm>
            <a:off x="3849955" y="1"/>
            <a:ext cx="2946135" cy="496253"/>
          </a:xfrm>
          <a:prstGeom prst="rect">
            <a:avLst/>
          </a:prstGeom>
        </p:spPr>
        <p:txBody>
          <a:bodyPr vert="horz" lIns="91312" tIns="45656" rIns="91312" bIns="45656" rtlCol="0"/>
          <a:lstStyle>
            <a:lvl1pPr algn="r">
              <a:defRPr sz="1200"/>
            </a:lvl1pPr>
          </a:lstStyle>
          <a:p>
            <a:fld id="{B6D3D667-CE9A-43DB-B421-D2D78100FDAD}" type="datetimeFigureOut">
              <a:rPr lang="en-US" smtClean="0"/>
              <a:t>4/6/2023</a:t>
            </a:fld>
            <a:endParaRPr lang="en-US" dirty="0"/>
          </a:p>
        </p:txBody>
      </p:sp>
      <p:sp>
        <p:nvSpPr>
          <p:cNvPr id="4" name="Footer Placeholder 3"/>
          <p:cNvSpPr>
            <a:spLocks noGrp="1"/>
          </p:cNvSpPr>
          <p:nvPr>
            <p:ph type="ftr" sz="quarter" idx="2"/>
          </p:nvPr>
        </p:nvSpPr>
        <p:spPr>
          <a:xfrm>
            <a:off x="1" y="9428800"/>
            <a:ext cx="2946135" cy="496252"/>
          </a:xfrm>
          <a:prstGeom prst="rect">
            <a:avLst/>
          </a:prstGeom>
        </p:spPr>
        <p:txBody>
          <a:bodyPr vert="horz" lIns="91312" tIns="45656" rIns="91312" bIns="4565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49955" y="9428800"/>
            <a:ext cx="2946135" cy="496252"/>
          </a:xfrm>
          <a:prstGeom prst="rect">
            <a:avLst/>
          </a:prstGeom>
        </p:spPr>
        <p:txBody>
          <a:bodyPr vert="horz" lIns="91312" tIns="45656" rIns="91312" bIns="45656" rtlCol="0" anchor="b"/>
          <a:lstStyle>
            <a:lvl1pPr algn="r">
              <a:defRPr sz="1200"/>
            </a:lvl1pPr>
          </a:lstStyle>
          <a:p>
            <a:fld id="{1265A36C-A182-4096-B719-17737B306883}" type="slidenum">
              <a:rPr lang="en-US" smtClean="0"/>
              <a:t>‹#›</a:t>
            </a:fld>
            <a:endParaRPr lang="en-US" dirty="0"/>
          </a:p>
        </p:txBody>
      </p:sp>
    </p:spTree>
    <p:extLst>
      <p:ext uri="{BB962C8B-B14F-4D97-AF65-F5344CB8AC3E}">
        <p14:creationId xmlns:p14="http://schemas.microsoft.com/office/powerpoint/2010/main" val="305546459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60" cy="496332"/>
          </a:xfrm>
          <a:prstGeom prst="rect">
            <a:avLst/>
          </a:prstGeom>
        </p:spPr>
        <p:txBody>
          <a:bodyPr vert="horz" lIns="91312" tIns="45656" rIns="91312" bIns="45656" rtlCol="0"/>
          <a:lstStyle>
            <a:lvl1pPr algn="l">
              <a:defRPr sz="1200"/>
            </a:lvl1pPr>
          </a:lstStyle>
          <a:p>
            <a:endParaRPr lang="en-AU" dirty="0"/>
          </a:p>
        </p:txBody>
      </p:sp>
      <p:sp>
        <p:nvSpPr>
          <p:cNvPr id="3" name="Date Placeholder 2"/>
          <p:cNvSpPr>
            <a:spLocks noGrp="1"/>
          </p:cNvSpPr>
          <p:nvPr>
            <p:ph type="dt" idx="1"/>
          </p:nvPr>
        </p:nvSpPr>
        <p:spPr>
          <a:xfrm>
            <a:off x="3850443" y="1"/>
            <a:ext cx="2945660" cy="496332"/>
          </a:xfrm>
          <a:prstGeom prst="rect">
            <a:avLst/>
          </a:prstGeom>
        </p:spPr>
        <p:txBody>
          <a:bodyPr vert="horz" lIns="91312" tIns="45656" rIns="91312" bIns="45656" rtlCol="0"/>
          <a:lstStyle>
            <a:lvl1pPr algn="r">
              <a:defRPr sz="1200"/>
            </a:lvl1pPr>
          </a:lstStyle>
          <a:p>
            <a:fld id="{67A1EDA4-36CE-401C-9D3E-251E526125FD}" type="datetimeFigureOut">
              <a:rPr lang="en-AU" smtClean="0"/>
              <a:t>06/04/2023</a:t>
            </a:fld>
            <a:endParaRPr lang="en-AU" dirty="0"/>
          </a:p>
        </p:txBody>
      </p:sp>
      <p:sp>
        <p:nvSpPr>
          <p:cNvPr id="4" name="Slide Image Placeholder 3"/>
          <p:cNvSpPr>
            <a:spLocks noGrp="1" noRot="1" noChangeAspect="1"/>
          </p:cNvSpPr>
          <p:nvPr>
            <p:ph type="sldImg" idx="2"/>
          </p:nvPr>
        </p:nvSpPr>
        <p:spPr>
          <a:xfrm>
            <a:off x="2003425" y="744538"/>
            <a:ext cx="2792413" cy="3722687"/>
          </a:xfrm>
          <a:prstGeom prst="rect">
            <a:avLst/>
          </a:prstGeom>
          <a:noFill/>
          <a:ln w="12700">
            <a:solidFill>
              <a:prstClr val="black"/>
            </a:solidFill>
          </a:ln>
        </p:spPr>
        <p:txBody>
          <a:bodyPr vert="horz" lIns="91312" tIns="45656" rIns="91312" bIns="45656" rtlCol="0" anchor="ctr"/>
          <a:lstStyle/>
          <a:p>
            <a:endParaRPr lang="en-AU" dirty="0"/>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312" tIns="45656" rIns="91312" bIns="4565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1" y="9428584"/>
            <a:ext cx="2945660" cy="496332"/>
          </a:xfrm>
          <a:prstGeom prst="rect">
            <a:avLst/>
          </a:prstGeom>
        </p:spPr>
        <p:txBody>
          <a:bodyPr vert="horz" lIns="91312" tIns="45656" rIns="91312" bIns="45656"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50443" y="9428584"/>
            <a:ext cx="2945660" cy="496332"/>
          </a:xfrm>
          <a:prstGeom prst="rect">
            <a:avLst/>
          </a:prstGeom>
        </p:spPr>
        <p:txBody>
          <a:bodyPr vert="horz" lIns="91312" tIns="45656" rIns="91312" bIns="45656" rtlCol="0" anchor="b"/>
          <a:lstStyle>
            <a:lvl1pPr algn="r">
              <a:defRPr sz="1200"/>
            </a:lvl1pPr>
          </a:lstStyle>
          <a:p>
            <a:fld id="{42B0816C-46F3-488C-9EC3-75CFC4D8B97F}" type="slidenum">
              <a:rPr lang="en-AU" smtClean="0"/>
              <a:t>‹#›</a:t>
            </a:fld>
            <a:endParaRPr lang="en-AU" dirty="0"/>
          </a:p>
        </p:txBody>
      </p:sp>
    </p:spTree>
    <p:extLst>
      <p:ext uri="{BB962C8B-B14F-4D97-AF65-F5344CB8AC3E}">
        <p14:creationId xmlns:p14="http://schemas.microsoft.com/office/powerpoint/2010/main" val="85743426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03425" y="744538"/>
            <a:ext cx="2792413" cy="372268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969089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10.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6.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10.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dvisian Cover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08847787"/>
              </p:ext>
            </p:extLst>
          </p:nvPr>
        </p:nvGraphicFramePr>
        <p:xfrm>
          <a:off x="1192" y="2119"/>
          <a:ext cx="1190"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2119"/>
                        <a:ext cx="1190" cy="2116"/>
                      </a:xfrm>
                      <a:prstGeom prst="rect">
                        <a:avLst/>
                      </a:prstGeom>
                    </p:spPr>
                  </p:pic>
                </p:oleObj>
              </mc:Fallback>
            </mc:AlternateContent>
          </a:graphicData>
        </a:graphic>
      </p:graphicFrame>
      <p:sp>
        <p:nvSpPr>
          <p:cNvPr id="10" name="Freeform 9"/>
          <p:cNvSpPr/>
          <p:nvPr userDrawn="1"/>
        </p:nvSpPr>
        <p:spPr>
          <a:xfrm>
            <a:off x="3080385" y="-30480"/>
            <a:ext cx="3794760" cy="7345680"/>
          </a:xfrm>
          <a:custGeom>
            <a:avLst/>
            <a:gdLst>
              <a:gd name="connsiteX0" fmla="*/ 0 w 5059680"/>
              <a:gd name="connsiteY0" fmla="*/ 7620 h 5509260"/>
              <a:gd name="connsiteX1" fmla="*/ 2095500 w 5059680"/>
              <a:gd name="connsiteY1" fmla="*/ 5509260 h 5509260"/>
              <a:gd name="connsiteX2" fmla="*/ 5059680 w 5059680"/>
              <a:gd name="connsiteY2" fmla="*/ 5509260 h 5509260"/>
              <a:gd name="connsiteX3" fmla="*/ 5059680 w 5059680"/>
              <a:gd name="connsiteY3" fmla="*/ 0 h 5509260"/>
              <a:gd name="connsiteX4" fmla="*/ 0 w 5059680"/>
              <a:gd name="connsiteY4" fmla="*/ 7620 h 5509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9680" h="5509260">
                <a:moveTo>
                  <a:pt x="0" y="7620"/>
                </a:moveTo>
                <a:lnTo>
                  <a:pt x="2095500" y="5509260"/>
                </a:lnTo>
                <a:lnTo>
                  <a:pt x="5059680" y="5509260"/>
                </a:lnTo>
                <a:lnTo>
                  <a:pt x="5059680" y="0"/>
                </a:lnTo>
                <a:lnTo>
                  <a:pt x="0" y="762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350" dirty="0"/>
          </a:p>
        </p:txBody>
      </p:sp>
      <p:sp>
        <p:nvSpPr>
          <p:cNvPr id="13" name="Parallelogram 10"/>
          <p:cNvSpPr/>
          <p:nvPr userDrawn="1"/>
        </p:nvSpPr>
        <p:spPr>
          <a:xfrm>
            <a:off x="0" y="921323"/>
            <a:ext cx="5696472" cy="8222677"/>
          </a:xfrm>
          <a:custGeom>
            <a:avLst/>
            <a:gdLst/>
            <a:ahLst/>
            <a:cxnLst/>
            <a:rect l="l" t="t" r="r" b="b"/>
            <a:pathLst>
              <a:path w="7595296" h="6167008">
                <a:moveTo>
                  <a:pt x="979814" y="0"/>
                </a:moveTo>
                <a:lnTo>
                  <a:pt x="7595296" y="0"/>
                </a:lnTo>
                <a:lnTo>
                  <a:pt x="4949095" y="6167008"/>
                </a:lnTo>
                <a:lnTo>
                  <a:pt x="4805101" y="6167008"/>
                </a:lnTo>
                <a:lnTo>
                  <a:pt x="7389158" y="144828"/>
                </a:lnTo>
                <a:lnTo>
                  <a:pt x="1086113" y="144828"/>
                </a:lnTo>
                <a:lnTo>
                  <a:pt x="0" y="2676029"/>
                </a:lnTo>
                <a:lnTo>
                  <a:pt x="0" y="228347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350" dirty="0"/>
          </a:p>
        </p:txBody>
      </p:sp>
      <p:sp>
        <p:nvSpPr>
          <p:cNvPr id="3" name="Title 2"/>
          <p:cNvSpPr>
            <a:spLocks noGrp="1"/>
          </p:cNvSpPr>
          <p:nvPr>
            <p:ph type="title"/>
          </p:nvPr>
        </p:nvSpPr>
        <p:spPr>
          <a:xfrm>
            <a:off x="620316" y="2873711"/>
            <a:ext cx="2992858" cy="1990388"/>
          </a:xfrm>
        </p:spPr>
        <p:txBody>
          <a:bodyPr/>
          <a:lstStyle>
            <a:lvl1pPr rtl="0">
              <a:defRPr/>
            </a:lvl1pPr>
          </a:lstStyle>
          <a:p>
            <a:r>
              <a:rPr lang="en-US"/>
              <a:t>Click to edit Master title style</a:t>
            </a:r>
            <a:endParaRPr lang="en-AU" dirty="0"/>
          </a:p>
        </p:txBody>
      </p:sp>
      <p:sp>
        <p:nvSpPr>
          <p:cNvPr id="6" name="Text Placeholder 5"/>
          <p:cNvSpPr>
            <a:spLocks noGrp="1"/>
          </p:cNvSpPr>
          <p:nvPr>
            <p:ph type="body" sz="quarter" idx="10"/>
          </p:nvPr>
        </p:nvSpPr>
        <p:spPr>
          <a:xfrm>
            <a:off x="620318" y="5080000"/>
            <a:ext cx="3022997" cy="524933"/>
          </a:xfrm>
        </p:spPr>
        <p:txBody>
          <a:bodyPr>
            <a:noAutofit/>
          </a:bodyPr>
          <a:lstStyle>
            <a:lvl1pPr rtl="0">
              <a:spcAft>
                <a:spcPts val="0"/>
              </a:spcAft>
              <a:defRPr sz="1350"/>
            </a:lvl1pPr>
            <a:lvl2pPr>
              <a:defRPr sz="1350"/>
            </a:lvl2pPr>
            <a:lvl3pPr>
              <a:defRPr sz="1350"/>
            </a:lvl3pPr>
            <a:lvl4pPr>
              <a:defRPr sz="1350"/>
            </a:lvl4pPr>
            <a:lvl5pPr>
              <a:defRPr sz="1350"/>
            </a:lvl5pPr>
          </a:lstStyle>
          <a:p>
            <a:pPr lvl="0"/>
            <a:r>
              <a:rPr lang="en-US"/>
              <a:t>Click to edit Master text styles</a:t>
            </a:r>
          </a:p>
        </p:txBody>
      </p:sp>
      <p:sp>
        <p:nvSpPr>
          <p:cNvPr id="8" name="Text Placeholder 7"/>
          <p:cNvSpPr>
            <a:spLocks noGrp="1"/>
          </p:cNvSpPr>
          <p:nvPr>
            <p:ph type="body" sz="quarter" idx="11"/>
          </p:nvPr>
        </p:nvSpPr>
        <p:spPr>
          <a:xfrm>
            <a:off x="620316" y="6487649"/>
            <a:ext cx="3044428" cy="711200"/>
          </a:xfrm>
        </p:spPr>
        <p:txBody>
          <a:bodyPr>
            <a:noAutofit/>
          </a:bodyPr>
          <a:lstStyle>
            <a:lvl1pPr marL="0" indent="0" rtl="0">
              <a:spcAft>
                <a:spcPts val="0"/>
              </a:spcAft>
              <a:buFont typeface="Arial" panose="020B0604020202020204" pitchFamily="34" charset="0"/>
              <a:buNone/>
              <a:defRPr sz="750"/>
            </a:lvl1pPr>
            <a:lvl2pPr marL="0" indent="0">
              <a:buNone/>
              <a:defRPr sz="750"/>
            </a:lvl2pPr>
            <a:lvl3pPr marL="269068" indent="0">
              <a:buNone/>
              <a:defRPr sz="750"/>
            </a:lvl3pPr>
            <a:lvl4pPr marL="536945" indent="0">
              <a:buNone/>
              <a:defRPr sz="750"/>
            </a:lvl4pPr>
            <a:lvl5pPr marL="806012" indent="0">
              <a:buNone/>
              <a:defRPr sz="750"/>
            </a:lvl5pPr>
          </a:lstStyle>
          <a:p>
            <a:pPr lvl="0"/>
            <a:r>
              <a:rPr lang="en-US"/>
              <a:t>Click to edit Master text styles</a:t>
            </a:r>
          </a:p>
        </p:txBody>
      </p:sp>
      <p:grpSp>
        <p:nvGrpSpPr>
          <p:cNvPr id="11" name="Group 10"/>
          <p:cNvGrpSpPr/>
          <p:nvPr userDrawn="1"/>
        </p:nvGrpSpPr>
        <p:grpSpPr>
          <a:xfrm>
            <a:off x="6939440" y="2"/>
            <a:ext cx="2557463" cy="8863937"/>
            <a:chOff x="9252585" y="0"/>
            <a:chExt cx="3409950" cy="6647953"/>
          </a:xfrm>
        </p:grpSpPr>
        <p:sp>
          <p:nvSpPr>
            <p:cNvPr id="12" name="TextBox 11"/>
            <p:cNvSpPr txBox="1"/>
            <p:nvPr userDrawn="1"/>
          </p:nvSpPr>
          <p:spPr>
            <a:xfrm>
              <a:off x="9252585" y="0"/>
              <a:ext cx="3409950" cy="3808735"/>
            </a:xfrm>
            <a:prstGeom prst="rect">
              <a:avLst/>
            </a:prstGeom>
            <a:solidFill>
              <a:schemeClr val="accent2"/>
            </a:solidFill>
          </p:spPr>
          <p:txBody>
            <a:bodyPr wrap="square" rtlCol="0">
              <a:spAutoFit/>
            </a:bodyPr>
            <a:lstStyle/>
            <a:p>
              <a:pPr rtl="0"/>
              <a:r>
                <a:rPr lang="en-AU" sz="900" b="1" dirty="0">
                  <a:solidFill>
                    <a:schemeClr val="bg1"/>
                  </a:solidFill>
                  <a:latin typeface="+mn-lt"/>
                </a:rPr>
                <a:t>INSTRUCTIONS</a:t>
              </a:r>
              <a:r>
                <a:rPr lang="en-AU" sz="900" b="1" baseline="0" dirty="0">
                  <a:solidFill>
                    <a:schemeClr val="bg1"/>
                  </a:solidFill>
                  <a:latin typeface="+mn-lt"/>
                </a:rPr>
                <a:t> FOR CHANGING </a:t>
              </a:r>
              <a:br>
                <a:rPr lang="en-AU" sz="900" b="1" baseline="0" dirty="0">
                  <a:solidFill>
                    <a:schemeClr val="bg1"/>
                  </a:solidFill>
                  <a:latin typeface="+mn-lt"/>
                </a:rPr>
              </a:br>
              <a:r>
                <a:rPr lang="en-AU" sz="900" b="1" baseline="0" dirty="0">
                  <a:solidFill>
                    <a:schemeClr val="bg1"/>
                  </a:solidFill>
                  <a:latin typeface="+mn-lt"/>
                </a:rPr>
                <a:t>COVER IMAGES:</a:t>
              </a:r>
            </a:p>
            <a:p>
              <a:pPr marL="214303" indent="-214303" rtl="0">
                <a:buFont typeface="Arial" panose="020B0604020202020204" pitchFamily="34" charset="0"/>
                <a:buChar char="•"/>
              </a:pPr>
              <a:endParaRPr lang="en-AU" sz="750" dirty="0">
                <a:solidFill>
                  <a:schemeClr val="bg1"/>
                </a:solidFill>
                <a:latin typeface="Segoe UI Semibold" panose="020B0702040204020203" pitchFamily="34" charset="0"/>
              </a:endParaRPr>
            </a:p>
            <a:p>
              <a:pPr marL="214303" indent="-214303" rtl="0">
                <a:buFont typeface="+mj-lt"/>
                <a:buAutoNum type="arabicPeriod"/>
              </a:pPr>
              <a:r>
                <a:rPr lang="en-AU" sz="750" dirty="0">
                  <a:solidFill>
                    <a:schemeClr val="bg1"/>
                  </a:solidFill>
                  <a:latin typeface="Segoe UI Semibold" panose="020B0702040204020203" pitchFamily="34" charset="0"/>
                </a:rPr>
                <a:t>Select both images by holding down </a:t>
              </a:r>
              <a:br>
                <a:rPr lang="en-AU" sz="750" dirty="0">
                  <a:solidFill>
                    <a:schemeClr val="bg1"/>
                  </a:solidFill>
                  <a:latin typeface="Segoe UI Semibold" panose="020B0702040204020203" pitchFamily="34" charset="0"/>
                </a:rPr>
              </a:br>
              <a:r>
                <a:rPr lang="en-AU" sz="750" dirty="0">
                  <a:solidFill>
                    <a:schemeClr val="bg1"/>
                  </a:solidFill>
                  <a:latin typeface="Segoe UI Semibold" panose="020B0702040204020203" pitchFamily="34" charset="0"/>
                </a:rPr>
                <a:t>the ‘Ctrl’ button</a:t>
              </a:r>
            </a:p>
            <a:p>
              <a:pPr marL="214303" indent="-214303" rtl="0">
                <a:buFont typeface="+mj-lt"/>
                <a:buAutoNum type="arabicPeriod"/>
              </a:pPr>
              <a:r>
                <a:rPr lang="en-AU" sz="750" dirty="0">
                  <a:solidFill>
                    <a:schemeClr val="bg1"/>
                  </a:solidFill>
                  <a:latin typeface="Segoe UI Semibold" panose="020B0702040204020203" pitchFamily="34" charset="0"/>
                </a:rPr>
                <a:t>Go</a:t>
              </a:r>
              <a:r>
                <a:rPr lang="en-AU" sz="750" baseline="0" dirty="0">
                  <a:solidFill>
                    <a:schemeClr val="bg1"/>
                  </a:solidFill>
                  <a:latin typeface="Segoe UI Semibold" panose="020B0702040204020203" pitchFamily="34" charset="0"/>
                </a:rPr>
                <a:t> to</a:t>
              </a:r>
              <a:r>
                <a:rPr lang="en-AU" sz="750" dirty="0">
                  <a:solidFill>
                    <a:schemeClr val="bg1"/>
                  </a:solidFill>
                  <a:latin typeface="Segoe UI Semibold" panose="020B0702040204020203" pitchFamily="34" charset="0"/>
                </a:rPr>
                <a:t> </a:t>
              </a:r>
              <a:r>
                <a:rPr lang="en-AU" sz="750" b="1" dirty="0">
                  <a:solidFill>
                    <a:srgbClr val="00AEEF"/>
                  </a:solidFill>
                  <a:latin typeface="+mn-lt"/>
                </a:rPr>
                <a:t>DRAWING TOOLS</a:t>
              </a:r>
            </a:p>
            <a:p>
              <a:pPr marL="214303" indent="-214303" rtl="0">
                <a:buFont typeface="+mj-lt"/>
                <a:buAutoNum type="arabicPeriod"/>
              </a:pPr>
              <a:r>
                <a:rPr lang="en-AU" sz="750" dirty="0">
                  <a:solidFill>
                    <a:schemeClr val="bg1"/>
                  </a:solidFill>
                  <a:latin typeface="Segoe UI Semibold" panose="020B0702040204020203" pitchFamily="34" charset="0"/>
                </a:rPr>
                <a:t>Click the arrow next to </a:t>
              </a:r>
              <a:r>
                <a:rPr lang="en-AU" sz="750" b="1" dirty="0">
                  <a:solidFill>
                    <a:srgbClr val="00AEEF"/>
                  </a:solidFill>
                  <a:latin typeface="+mn-lt"/>
                </a:rPr>
                <a:t>SHAPE FILL</a:t>
              </a:r>
            </a:p>
            <a:p>
              <a:pPr marL="214303" indent="-214303" rtl="0">
                <a:buFont typeface="+mj-lt"/>
                <a:buAutoNum type="arabicPeriod"/>
              </a:pPr>
              <a:r>
                <a:rPr lang="en-AU" sz="750" dirty="0">
                  <a:solidFill>
                    <a:schemeClr val="bg1"/>
                  </a:solidFill>
                  <a:latin typeface="Segoe UI Semibold" panose="020B0702040204020203" pitchFamily="34" charset="0"/>
                </a:rPr>
                <a:t>Click </a:t>
              </a:r>
              <a:r>
                <a:rPr lang="en-AU" sz="750" b="1" dirty="0">
                  <a:solidFill>
                    <a:srgbClr val="00AEEF"/>
                  </a:solidFill>
                  <a:latin typeface="+mn-lt"/>
                </a:rPr>
                <a:t>PICTURE</a:t>
              </a:r>
            </a:p>
            <a:p>
              <a:pPr marL="214303" indent="-214303" rtl="0">
                <a:buFont typeface="+mj-lt"/>
                <a:buAutoNum type="arabicPeriod"/>
              </a:pPr>
              <a:r>
                <a:rPr lang="en-AU" sz="750" dirty="0">
                  <a:solidFill>
                    <a:schemeClr val="bg1"/>
                  </a:solidFill>
                  <a:latin typeface="Segoe UI Semibold" panose="020B0702040204020203" pitchFamily="34" charset="0"/>
                </a:rPr>
                <a:t>Locate the folder that contains the picture you want to use and click </a:t>
              </a:r>
              <a:r>
                <a:rPr lang="en-AU" sz="750" b="1" dirty="0">
                  <a:solidFill>
                    <a:schemeClr val="accent3"/>
                  </a:solidFill>
                  <a:latin typeface="+mn-lt"/>
                </a:rPr>
                <a:t>INSERT</a:t>
              </a:r>
            </a:p>
            <a:p>
              <a:pPr marL="214303" indent="-214303" rtl="0">
                <a:buFont typeface="+mj-lt"/>
                <a:buAutoNum type="arabicPeriod"/>
              </a:pPr>
              <a:endParaRPr lang="en-AU" sz="750" dirty="0">
                <a:solidFill>
                  <a:schemeClr val="bg1"/>
                </a:solidFill>
                <a:latin typeface="Segoe UI Semibold" panose="020B0702040204020203" pitchFamily="34" charset="0"/>
              </a:endParaRPr>
            </a:p>
            <a:p>
              <a:pPr marL="214303" indent="-214303" rtl="0">
                <a:buFont typeface="+mj-lt"/>
                <a:buAutoNum type="arabicPeriod"/>
              </a:pPr>
              <a:endParaRPr lang="en-AU" sz="750" dirty="0">
                <a:solidFill>
                  <a:schemeClr val="bg1"/>
                </a:solidFill>
                <a:latin typeface="Segoe UI Semibold" panose="020B0702040204020203" pitchFamily="34" charset="0"/>
              </a:endParaRPr>
            </a:p>
            <a:p>
              <a:pPr marL="214303" indent="-214303" rtl="0">
                <a:buFont typeface="+mj-lt"/>
                <a:buAutoNum type="arabicPeriod"/>
              </a:pPr>
              <a:endParaRPr lang="en-AU" sz="750" dirty="0">
                <a:solidFill>
                  <a:schemeClr val="bg1"/>
                </a:solidFill>
                <a:latin typeface="Segoe UI Semibold" panose="020B0702040204020203" pitchFamily="34" charset="0"/>
              </a:endParaRPr>
            </a:p>
            <a:p>
              <a:pPr marL="214303" indent="-214303" rtl="0">
                <a:buFont typeface="+mj-lt"/>
                <a:buAutoNum type="arabicPeriod"/>
              </a:pPr>
              <a:endParaRPr lang="en-AU" sz="750" dirty="0">
                <a:solidFill>
                  <a:schemeClr val="bg1"/>
                </a:solidFill>
                <a:latin typeface="Segoe UI Semibold" panose="020B0702040204020203" pitchFamily="34" charset="0"/>
              </a:endParaRPr>
            </a:p>
            <a:p>
              <a:pPr marL="214303" indent="-214303" rtl="0">
                <a:buFont typeface="+mj-lt"/>
                <a:buAutoNum type="arabicPeriod"/>
              </a:pPr>
              <a:endParaRPr lang="en-AU" sz="750" dirty="0">
                <a:solidFill>
                  <a:schemeClr val="bg1"/>
                </a:solidFill>
                <a:latin typeface="Segoe UI Semibold" panose="020B0702040204020203" pitchFamily="34" charset="0"/>
              </a:endParaRPr>
            </a:p>
            <a:p>
              <a:pPr marL="214303" indent="-214303" rtl="0">
                <a:buFont typeface="+mj-lt"/>
                <a:buAutoNum type="arabicPeriod"/>
              </a:pPr>
              <a:endParaRPr lang="en-AU" sz="750" dirty="0">
                <a:solidFill>
                  <a:schemeClr val="bg1"/>
                </a:solidFill>
                <a:latin typeface="Segoe UI Semibold" panose="020B0702040204020203" pitchFamily="34" charset="0"/>
              </a:endParaRPr>
            </a:p>
            <a:p>
              <a:pPr marL="0" indent="0" rtl="0">
                <a:buFont typeface="+mj-lt"/>
                <a:buNone/>
              </a:pPr>
              <a:endParaRPr lang="en-AU" sz="750" dirty="0">
                <a:solidFill>
                  <a:schemeClr val="bg1"/>
                </a:solidFill>
                <a:latin typeface="Segoe UI Semibold" panose="020B0702040204020203" pitchFamily="34" charset="0"/>
              </a:endParaRPr>
            </a:p>
            <a:p>
              <a:pPr marL="214303" indent="-214303" rtl="0">
                <a:buFont typeface="+mj-lt"/>
                <a:buAutoNum type="arabicPeriod"/>
              </a:pPr>
              <a:endParaRPr lang="en-AU" sz="750" dirty="0">
                <a:solidFill>
                  <a:schemeClr val="bg1"/>
                </a:solidFill>
                <a:latin typeface="Segoe UI Semibold" panose="020B0702040204020203" pitchFamily="34" charset="0"/>
              </a:endParaRPr>
            </a:p>
            <a:p>
              <a:pPr marL="214303" indent="-214303" rtl="0">
                <a:buFont typeface="+mj-lt"/>
                <a:buAutoNum type="arabicPeriod"/>
              </a:pPr>
              <a:endParaRPr lang="en-AU" sz="750" dirty="0">
                <a:solidFill>
                  <a:schemeClr val="bg1"/>
                </a:solidFill>
                <a:latin typeface="Segoe UI Semibold" panose="020B0702040204020203" pitchFamily="34" charset="0"/>
              </a:endParaRPr>
            </a:p>
            <a:p>
              <a:pPr marL="214303" indent="-214303" rtl="0">
                <a:buFont typeface="Arial" panose="020B0604020202020204" pitchFamily="34" charset="0"/>
                <a:buChar char="•"/>
              </a:pPr>
              <a:endParaRPr lang="en-AU" sz="750" dirty="0">
                <a:solidFill>
                  <a:schemeClr val="bg1"/>
                </a:solidFill>
                <a:latin typeface="Segoe UI Semibold" panose="020B0702040204020203" pitchFamily="34" charset="0"/>
              </a:endParaRPr>
            </a:p>
            <a:p>
              <a:pPr rtl="0">
                <a:buFont typeface="Arial" panose="020B0604020202020204" pitchFamily="34" charset="0"/>
                <a:buNone/>
              </a:pPr>
              <a:r>
                <a:rPr lang="en-AU" sz="900" b="1" dirty="0">
                  <a:solidFill>
                    <a:schemeClr val="bg1"/>
                  </a:solidFill>
                  <a:latin typeface="+mn-lt"/>
                </a:rPr>
                <a:t>INSTRUCTIONS</a:t>
              </a:r>
              <a:r>
                <a:rPr lang="en-AU" sz="900" b="1" baseline="0" dirty="0">
                  <a:solidFill>
                    <a:schemeClr val="bg1"/>
                  </a:solidFill>
                  <a:latin typeface="+mn-lt"/>
                </a:rPr>
                <a:t> TO RESIZE AND REPOSITION YOUR IMAGE:</a:t>
              </a:r>
            </a:p>
            <a:p>
              <a:pPr rtl="0">
                <a:buFont typeface="Arial" panose="020B0604020202020204" pitchFamily="34" charset="0"/>
                <a:buNone/>
              </a:pPr>
              <a:endParaRPr lang="en-AU" sz="750" b="1" dirty="0">
                <a:solidFill>
                  <a:schemeClr val="bg1"/>
                </a:solidFill>
                <a:latin typeface="+mn-lt"/>
              </a:endParaRPr>
            </a:p>
            <a:p>
              <a:pPr marL="214303" indent="-214303" rtl="0">
                <a:buFont typeface="+mj-lt"/>
                <a:buAutoNum type="arabicPeriod"/>
                <a:defRPr/>
              </a:pPr>
              <a:r>
                <a:rPr lang="en-AU" sz="750" dirty="0">
                  <a:solidFill>
                    <a:schemeClr val="bg1"/>
                  </a:solidFill>
                  <a:latin typeface="Segoe UI Semibold" panose="020B0702040204020203" pitchFamily="34" charset="0"/>
                </a:rPr>
                <a:t>Click the image you want to edit</a:t>
              </a:r>
            </a:p>
            <a:p>
              <a:pPr marL="214303" indent="-214303" rtl="0">
                <a:buFont typeface="+mj-lt"/>
                <a:buAutoNum type="arabicPeriod"/>
                <a:defRPr/>
              </a:pPr>
              <a:r>
                <a:rPr lang="en-AU" sz="750" dirty="0">
                  <a:solidFill>
                    <a:schemeClr val="bg1"/>
                  </a:solidFill>
                  <a:latin typeface="Segoe UI Semibold" panose="020B0702040204020203" pitchFamily="34" charset="0"/>
                </a:rPr>
                <a:t>Go to </a:t>
              </a:r>
              <a:r>
                <a:rPr lang="en-AU" sz="750" b="1" dirty="0">
                  <a:solidFill>
                    <a:srgbClr val="00AEEF"/>
                  </a:solidFill>
                  <a:latin typeface="+mn-lt"/>
                </a:rPr>
                <a:t>PICTURE TOOLS </a:t>
              </a:r>
            </a:p>
            <a:p>
              <a:pPr marL="214303" marR="0" indent="-214303" algn="l" defTabSz="685766" rtl="0" eaLnBrk="1" fontAlgn="auto" latinLnBrk="0" hangingPunct="1">
                <a:lnSpc>
                  <a:spcPct val="100000"/>
                </a:lnSpc>
                <a:spcBef>
                  <a:spcPts val="0"/>
                </a:spcBef>
                <a:spcAft>
                  <a:spcPts val="0"/>
                </a:spcAft>
                <a:buClrTx/>
                <a:buSzTx/>
                <a:buFont typeface="+mj-lt"/>
                <a:buAutoNum type="arabicPeriod"/>
                <a:tabLst/>
                <a:defRPr/>
              </a:pPr>
              <a:r>
                <a:rPr lang="en-AU" sz="750" dirty="0">
                  <a:solidFill>
                    <a:schemeClr val="bg1"/>
                  </a:solidFill>
                  <a:latin typeface="Segoe UI Semibold" panose="020B0702040204020203" pitchFamily="34" charset="0"/>
                </a:rPr>
                <a:t>To maintain the original size</a:t>
              </a:r>
              <a:r>
                <a:rPr lang="en-AU" sz="750" baseline="0" dirty="0">
                  <a:solidFill>
                    <a:schemeClr val="bg1"/>
                  </a:solidFill>
                  <a:latin typeface="Segoe UI Semibold" panose="020B0702040204020203" pitchFamily="34" charset="0"/>
                </a:rPr>
                <a:t> and format </a:t>
              </a:r>
              <a:br>
                <a:rPr lang="en-AU" sz="750" baseline="0" dirty="0">
                  <a:solidFill>
                    <a:schemeClr val="bg1"/>
                  </a:solidFill>
                  <a:latin typeface="Segoe UI Semibold" panose="020B0702040204020203" pitchFamily="34" charset="0"/>
                </a:rPr>
              </a:br>
              <a:r>
                <a:rPr lang="en-AU" sz="750" dirty="0">
                  <a:solidFill>
                    <a:schemeClr val="bg1"/>
                  </a:solidFill>
                  <a:latin typeface="Segoe UI Semibold" panose="020B0702040204020203" pitchFamily="34" charset="0"/>
                </a:rPr>
                <a:t>of the image, click the arrow under </a:t>
              </a:r>
              <a:r>
                <a:rPr lang="en-AU" sz="750" b="1" dirty="0">
                  <a:solidFill>
                    <a:srgbClr val="00AEEF"/>
                  </a:solidFill>
                  <a:latin typeface="+mn-lt"/>
                </a:rPr>
                <a:t>CROP</a:t>
              </a:r>
              <a:r>
                <a:rPr lang="en-AU" sz="750" dirty="0">
                  <a:solidFill>
                    <a:schemeClr val="bg1"/>
                  </a:solidFill>
                  <a:latin typeface="Segoe UI Semibold" panose="020B0702040204020203" pitchFamily="34" charset="0"/>
                </a:rPr>
                <a:t> and click </a:t>
              </a:r>
              <a:r>
                <a:rPr lang="en-AU" sz="750" b="1" dirty="0">
                  <a:solidFill>
                    <a:srgbClr val="00AEEF"/>
                  </a:solidFill>
                  <a:latin typeface="+mn-lt"/>
                </a:rPr>
                <a:t>FIT</a:t>
              </a:r>
            </a:p>
            <a:p>
              <a:pPr marL="214303" marR="0" indent="-214303" algn="l" defTabSz="685766" rtl="0" eaLnBrk="1" fontAlgn="auto" latinLnBrk="0" hangingPunct="1">
                <a:lnSpc>
                  <a:spcPct val="100000"/>
                </a:lnSpc>
                <a:spcBef>
                  <a:spcPts val="0"/>
                </a:spcBef>
                <a:spcAft>
                  <a:spcPts val="0"/>
                </a:spcAft>
                <a:buClrTx/>
                <a:buSzTx/>
                <a:buFont typeface="+mj-lt"/>
                <a:buAutoNum type="arabicPeriod"/>
                <a:tabLst/>
                <a:defRPr/>
              </a:pPr>
              <a:endParaRPr lang="en-AU" sz="900" b="1" dirty="0">
                <a:solidFill>
                  <a:srgbClr val="00AEEF"/>
                </a:solidFill>
                <a:latin typeface="+mn-lt"/>
              </a:endParaRPr>
            </a:p>
            <a:p>
              <a:pPr marL="214303" marR="0" indent="-214303" algn="l" defTabSz="685766" rtl="0" eaLnBrk="1" fontAlgn="auto" latinLnBrk="0" hangingPunct="1">
                <a:lnSpc>
                  <a:spcPct val="100000"/>
                </a:lnSpc>
                <a:spcBef>
                  <a:spcPts val="0"/>
                </a:spcBef>
                <a:spcAft>
                  <a:spcPts val="0"/>
                </a:spcAft>
                <a:buClrTx/>
                <a:buSzTx/>
                <a:buFont typeface="+mj-lt"/>
                <a:buAutoNum type="arabicPeriod"/>
                <a:tabLst/>
                <a:defRPr/>
              </a:pPr>
              <a:endParaRPr lang="en-AU" sz="900" b="1" dirty="0">
                <a:solidFill>
                  <a:srgbClr val="00AEEF"/>
                </a:solidFill>
                <a:latin typeface="+mn-lt"/>
              </a:endParaRPr>
            </a:p>
            <a:p>
              <a:pPr marL="214303" marR="0" indent="-214303" algn="l" defTabSz="685766" rtl="0" eaLnBrk="1" fontAlgn="auto" latinLnBrk="0" hangingPunct="1">
                <a:lnSpc>
                  <a:spcPct val="100000"/>
                </a:lnSpc>
                <a:spcBef>
                  <a:spcPts val="0"/>
                </a:spcBef>
                <a:spcAft>
                  <a:spcPts val="0"/>
                </a:spcAft>
                <a:buClrTx/>
                <a:buSzTx/>
                <a:buFont typeface="+mj-lt"/>
                <a:buAutoNum type="arabicPeriod"/>
                <a:tabLst/>
                <a:defRPr/>
              </a:pPr>
              <a:endParaRPr lang="en-AU" sz="900" b="1" dirty="0">
                <a:solidFill>
                  <a:srgbClr val="00AEEF"/>
                </a:solidFill>
                <a:latin typeface="+mn-lt"/>
              </a:endParaRPr>
            </a:p>
            <a:p>
              <a:pPr marL="214303" marR="0" indent="-214303" algn="l" defTabSz="685766" rtl="0" eaLnBrk="1" fontAlgn="auto" latinLnBrk="0" hangingPunct="1">
                <a:lnSpc>
                  <a:spcPct val="100000"/>
                </a:lnSpc>
                <a:spcBef>
                  <a:spcPts val="0"/>
                </a:spcBef>
                <a:spcAft>
                  <a:spcPts val="0"/>
                </a:spcAft>
                <a:buClrTx/>
                <a:buSzTx/>
                <a:buFont typeface="+mj-lt"/>
                <a:buAutoNum type="arabicPeriod"/>
                <a:tabLst/>
                <a:defRPr/>
              </a:pPr>
              <a:endParaRPr lang="en-AU" sz="900" b="1" dirty="0">
                <a:solidFill>
                  <a:srgbClr val="00AEEF"/>
                </a:solidFill>
                <a:latin typeface="+mn-lt"/>
              </a:endParaRPr>
            </a:p>
            <a:p>
              <a:pPr marL="214303" marR="0" indent="-214303" algn="l" defTabSz="685766" rtl="0" eaLnBrk="1" fontAlgn="auto" latinLnBrk="0" hangingPunct="1">
                <a:lnSpc>
                  <a:spcPct val="100000"/>
                </a:lnSpc>
                <a:spcBef>
                  <a:spcPts val="0"/>
                </a:spcBef>
                <a:spcAft>
                  <a:spcPts val="0"/>
                </a:spcAft>
                <a:buClrTx/>
                <a:buSzTx/>
                <a:buFont typeface="+mj-lt"/>
                <a:buAutoNum type="arabicPeriod"/>
                <a:tabLst/>
                <a:defRPr/>
              </a:pPr>
              <a:endParaRPr lang="en-AU" sz="900" b="1" dirty="0">
                <a:solidFill>
                  <a:srgbClr val="00AEEF"/>
                </a:solidFill>
                <a:latin typeface="+mn-lt"/>
              </a:endParaRPr>
            </a:p>
            <a:p>
              <a:pPr marL="214303" marR="0" indent="-214303" algn="l" defTabSz="685766" rtl="0" eaLnBrk="1" fontAlgn="auto" latinLnBrk="0" hangingPunct="1">
                <a:lnSpc>
                  <a:spcPct val="100000"/>
                </a:lnSpc>
                <a:spcBef>
                  <a:spcPts val="0"/>
                </a:spcBef>
                <a:spcAft>
                  <a:spcPts val="0"/>
                </a:spcAft>
                <a:buClrTx/>
                <a:buSzTx/>
                <a:buFont typeface="+mj-lt"/>
                <a:buAutoNum type="arabicPeriod"/>
                <a:tabLst/>
                <a:defRPr/>
              </a:pPr>
              <a:endParaRPr lang="en-AU" sz="900" b="1" dirty="0">
                <a:solidFill>
                  <a:srgbClr val="00AEEF"/>
                </a:solidFill>
                <a:latin typeface="+mn-lt"/>
              </a:endParaRPr>
            </a:p>
            <a:p>
              <a:pPr marL="214303" marR="0" indent="-214303" algn="l" defTabSz="685766" rtl="0" eaLnBrk="1" fontAlgn="auto" latinLnBrk="0" hangingPunct="1">
                <a:lnSpc>
                  <a:spcPct val="100000"/>
                </a:lnSpc>
                <a:spcBef>
                  <a:spcPts val="0"/>
                </a:spcBef>
                <a:spcAft>
                  <a:spcPts val="0"/>
                </a:spcAft>
                <a:buClrTx/>
                <a:buSzTx/>
                <a:buFont typeface="+mj-lt"/>
                <a:buAutoNum type="arabicPeriod"/>
                <a:tabLst/>
                <a:defRPr/>
              </a:pPr>
              <a:endParaRPr lang="en-AU" sz="900" b="1" dirty="0">
                <a:solidFill>
                  <a:srgbClr val="00AEEF"/>
                </a:solidFill>
                <a:latin typeface="+mn-lt"/>
              </a:endParaRPr>
            </a:p>
            <a:p>
              <a:pPr marL="214303" indent="-214303" rtl="0">
                <a:buFont typeface="+mj-lt"/>
                <a:buAutoNum type="arabicPeriod"/>
                <a:defRPr/>
              </a:pPr>
              <a:r>
                <a:rPr lang="en-AU" sz="750" dirty="0">
                  <a:solidFill>
                    <a:schemeClr val="bg1"/>
                  </a:solidFill>
                  <a:latin typeface="Segoe UI Semibold" panose="020B0702040204020203" pitchFamily="34" charset="0"/>
                </a:rPr>
                <a:t>To</a:t>
              </a:r>
              <a:r>
                <a:rPr lang="en-AU" sz="750" baseline="0" dirty="0">
                  <a:solidFill>
                    <a:schemeClr val="bg1"/>
                  </a:solidFill>
                  <a:latin typeface="Segoe UI Semibold" panose="020B0702040204020203" pitchFamily="34" charset="0"/>
                </a:rPr>
                <a:t> reposition or resize your image, c</a:t>
              </a:r>
              <a:r>
                <a:rPr lang="en-AU" sz="750" dirty="0">
                  <a:solidFill>
                    <a:schemeClr val="bg1"/>
                  </a:solidFill>
                  <a:latin typeface="Segoe UI Semibold" panose="020B0702040204020203" pitchFamily="34" charset="0"/>
                </a:rPr>
                <a:t>lick </a:t>
              </a:r>
              <a:r>
                <a:rPr lang="en-AU" sz="750" b="1" dirty="0">
                  <a:solidFill>
                    <a:srgbClr val="00AEEF"/>
                  </a:solidFill>
                  <a:latin typeface="+mn-lt"/>
                </a:rPr>
                <a:t>CROP</a:t>
              </a:r>
              <a:r>
                <a:rPr lang="en-AU" sz="750" dirty="0">
                  <a:solidFill>
                    <a:schemeClr val="bg1"/>
                  </a:solidFill>
                  <a:latin typeface="Segoe UI Semibold" panose="020B0702040204020203" pitchFamily="34" charset="0"/>
                </a:rPr>
                <a:t>, and use the circles on the edge of the image</a:t>
              </a:r>
            </a:p>
            <a:p>
              <a:pPr marL="214303" indent="-214303" rtl="0">
                <a:buFont typeface="+mj-lt"/>
                <a:buAutoNum type="arabicPeriod"/>
                <a:defRPr/>
              </a:pPr>
              <a:endParaRPr lang="en-AU" sz="750" dirty="0">
                <a:solidFill>
                  <a:schemeClr val="bg1"/>
                </a:solidFill>
                <a:latin typeface="Segoe UI Semibold" panose="020B0702040204020203" pitchFamily="34" charset="0"/>
              </a:endParaRPr>
            </a:p>
            <a:p>
              <a:pPr marL="214303" indent="-214303" rtl="0">
                <a:buFont typeface="+mj-lt"/>
                <a:buAutoNum type="arabicPeriod"/>
                <a:defRPr/>
              </a:pPr>
              <a:endParaRPr lang="en-AU" sz="750" dirty="0">
                <a:solidFill>
                  <a:schemeClr val="bg1"/>
                </a:solidFill>
                <a:latin typeface="Segoe UI Semibold" panose="020B0702040204020203" pitchFamily="34" charset="0"/>
              </a:endParaRPr>
            </a:p>
            <a:p>
              <a:pPr marL="214303" indent="-214303" rtl="0">
                <a:buFont typeface="+mj-lt"/>
                <a:buAutoNum type="arabicPeriod"/>
                <a:defRPr/>
              </a:pPr>
              <a:endParaRPr lang="en-AU" sz="750" dirty="0">
                <a:solidFill>
                  <a:schemeClr val="bg1"/>
                </a:solidFill>
                <a:latin typeface="Segoe UI Semibold" panose="020B0702040204020203" pitchFamily="34" charset="0"/>
              </a:endParaRPr>
            </a:p>
            <a:p>
              <a:pPr marL="214303" indent="-214303" rtl="0">
                <a:buFont typeface="+mj-lt"/>
                <a:buAutoNum type="arabicPeriod"/>
                <a:defRPr/>
              </a:pPr>
              <a:endParaRPr lang="en-AU" sz="750" dirty="0">
                <a:solidFill>
                  <a:schemeClr val="bg1"/>
                </a:solidFill>
                <a:latin typeface="Segoe UI Semibold" panose="020B0702040204020203" pitchFamily="34" charset="0"/>
              </a:endParaRPr>
            </a:p>
          </p:txBody>
        </p:sp>
        <p:pic>
          <p:nvPicPr>
            <p:cNvPr id="14" name="Picture 13"/>
            <p:cNvPicPr/>
            <p:nvPr userDrawn="1"/>
          </p:nvPicPr>
          <p:blipFill rotWithShape="1">
            <a:blip r:embed="rId5"/>
            <a:srcRect r="51341"/>
            <a:stretch/>
          </p:blipFill>
          <p:spPr bwMode="auto">
            <a:xfrm>
              <a:off x="9629774" y="1683234"/>
              <a:ext cx="1962152" cy="1325024"/>
            </a:xfrm>
            <a:prstGeom prst="rect">
              <a:avLst/>
            </a:prstGeom>
            <a:ln>
              <a:noFill/>
            </a:ln>
            <a:extLst>
              <a:ext uri="{53640926-AAD7-44D8-BBD7-CCE9431645EC}">
                <a14:shadowObscured xmlns:a14="http://schemas.microsoft.com/office/drawing/2010/main"/>
              </a:ext>
            </a:extLst>
          </p:spPr>
        </p:pic>
        <p:pic>
          <p:nvPicPr>
            <p:cNvPr id="15" name="Picture 2"/>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629774" y="4508500"/>
              <a:ext cx="849363" cy="1139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5"/>
            <p:cNvPicPr/>
            <p:nvPr userDrawn="1"/>
          </p:nvPicPr>
          <p:blipFill rotWithShape="1">
            <a:blip r:embed="rId7"/>
            <a:srcRect l="28204" t="64535" r="61298" b="23643"/>
            <a:stretch/>
          </p:blipFill>
          <p:spPr bwMode="auto">
            <a:xfrm>
              <a:off x="9629774" y="6089637"/>
              <a:ext cx="1508895" cy="558316"/>
            </a:xfrm>
            <a:prstGeom prst="rect">
              <a:avLst/>
            </a:prstGeom>
            <a:ln>
              <a:noFill/>
            </a:ln>
            <a:extLst>
              <a:ext uri="{53640926-AAD7-44D8-BBD7-CCE9431645EC}">
                <a14:shadowObscured xmlns:a14="http://schemas.microsoft.com/office/drawing/2010/main"/>
              </a:ext>
            </a:extLst>
          </p:spPr>
        </p:pic>
        <p:sp>
          <p:nvSpPr>
            <p:cNvPr id="19" name="Oval 18"/>
            <p:cNvSpPr/>
            <p:nvPr userDrawn="1"/>
          </p:nvSpPr>
          <p:spPr>
            <a:xfrm>
              <a:off x="9896475" y="6276596"/>
              <a:ext cx="582662" cy="21602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350" dirty="0"/>
            </a:p>
          </p:txBody>
        </p:sp>
      </p:grpSp>
    </p:spTree>
    <p:extLst>
      <p:ext uri="{BB962C8B-B14F-4D97-AF65-F5344CB8AC3E}">
        <p14:creationId xmlns:p14="http://schemas.microsoft.com/office/powerpoint/2010/main" val="273874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887948"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1"/>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364614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18661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034785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
        <p:nvSpPr>
          <p:cNvPr id="7" name="TextBox 6"/>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56550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0967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6" name="Slide Number Placeholder 1"/>
          <p:cNvSpPr>
            <a:spLocks noGrp="1"/>
          </p:cNvSpPr>
          <p:nvPr>
            <p:ph type="sldNum" sz="quarter" idx="10"/>
          </p:nvPr>
        </p:nvSpPr>
        <p:spPr>
          <a:xfrm>
            <a:off x="5481228" y="8700464"/>
            <a:ext cx="1134126" cy="261509"/>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057344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2">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726269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2">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6" y="1128185"/>
            <a:ext cx="3131864" cy="6996211"/>
          </a:xfrm>
        </p:spPr>
        <p:txBody>
          <a:bodyPr anchor="ctr"/>
          <a:lstStyle>
            <a:lvl1pPr>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62569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2">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132000"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
        <p:nvSpPr>
          <p:cNvPr id="7" name="TextBox 6"/>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52938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2">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66914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2">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Slide Number Placeholder 1"/>
          <p:cNvSpPr>
            <a:spLocks noGrp="1"/>
          </p:cNvSpPr>
          <p:nvPr>
            <p:ph type="sldNum" sz="quarter" idx="10"/>
          </p:nvPr>
        </p:nvSpPr>
        <p:spPr>
          <a:xfrm>
            <a:off x="5481228" y="8700464"/>
            <a:ext cx="1134126" cy="261509"/>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58395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887948"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1"/>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
        <p:nvSpPr>
          <p:cNvPr id="7" name="TextBox 6"/>
          <p:cNvSpPr txBox="1"/>
          <p:nvPr userDrawn="1"/>
        </p:nvSpPr>
        <p:spPr>
          <a:xfrm>
            <a:off x="6939441" y="2"/>
            <a:ext cx="2090261" cy="698333"/>
          </a:xfrm>
          <a:prstGeom prst="rect">
            <a:avLst/>
          </a:prstGeom>
          <a:solidFill>
            <a:schemeClr val="accent2"/>
          </a:solidFill>
        </p:spPr>
        <p:txBody>
          <a:bodyPr wrap="square" rtlCol="0">
            <a:spAutoFit/>
          </a:bodyPr>
          <a:lstStyle/>
          <a:p>
            <a:r>
              <a:rPr lang="en-AU" sz="900" b="1" dirty="0">
                <a:solidFill>
                  <a:schemeClr val="bg1"/>
                </a:solidFill>
                <a:latin typeface="+mn-lt"/>
              </a:rPr>
              <a:t>TIP! </a:t>
            </a:r>
          </a:p>
          <a:p>
            <a:endParaRPr lang="en-AU" sz="788" b="1" dirty="0">
              <a:solidFill>
                <a:schemeClr val="bg1"/>
              </a:solidFill>
              <a:latin typeface="+mn-lt"/>
            </a:endParaRPr>
          </a:p>
          <a:p>
            <a:r>
              <a:rPr lang="en-AU" sz="750" b="1" dirty="0">
                <a:solidFill>
                  <a:srgbClr val="00AEEF"/>
                </a:solidFill>
                <a:latin typeface="+mn-lt"/>
              </a:rPr>
              <a:t>RIGHT CLICK </a:t>
            </a:r>
            <a:r>
              <a:rPr lang="en-AU" sz="750" dirty="0">
                <a:solidFill>
                  <a:schemeClr val="bg1"/>
                </a:solidFill>
                <a:latin typeface="+mn-lt"/>
              </a:rPr>
              <a:t>on the preview slide on</a:t>
            </a:r>
            <a:r>
              <a:rPr lang="en-AU" sz="750" baseline="0" dirty="0">
                <a:solidFill>
                  <a:schemeClr val="bg1"/>
                </a:solidFill>
                <a:latin typeface="+mn-lt"/>
              </a:rPr>
              <a:t> the left hand side of your screen, and go to </a:t>
            </a:r>
            <a:r>
              <a:rPr lang="en-AU" sz="750" b="1" baseline="0" dirty="0">
                <a:solidFill>
                  <a:srgbClr val="00AEEF"/>
                </a:solidFill>
                <a:latin typeface="+mn-lt"/>
              </a:rPr>
              <a:t>LAYOUT</a:t>
            </a:r>
            <a:r>
              <a:rPr lang="en-AU" sz="750" baseline="0" dirty="0">
                <a:solidFill>
                  <a:schemeClr val="bg1"/>
                </a:solidFill>
                <a:latin typeface="+mn-lt"/>
              </a:rPr>
              <a:t> to reveal more colour options and layouts. </a:t>
            </a:r>
            <a:endParaRPr lang="en-AU" sz="750" kern="1200" dirty="0">
              <a:solidFill>
                <a:schemeClr val="bg1"/>
              </a:solidFill>
              <a:latin typeface="+mn-lt"/>
              <a:ea typeface="+mn-ea"/>
              <a:cs typeface="+mn-cs"/>
            </a:endParaRPr>
          </a:p>
        </p:txBody>
      </p:sp>
    </p:spTree>
    <p:extLst>
      <p:ext uri="{BB962C8B-B14F-4D97-AF65-F5344CB8AC3E}">
        <p14:creationId xmlns:p14="http://schemas.microsoft.com/office/powerpoint/2010/main" val="2355900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1">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9" name="Picture Placeholder 18"/>
          <p:cNvSpPr>
            <a:spLocks noGrp="1"/>
          </p:cNvSpPr>
          <p:nvPr>
            <p:ph type="pic" sz="quarter" idx="14"/>
          </p:nvPr>
        </p:nvSpPr>
        <p:spPr>
          <a:xfrm>
            <a:off x="242647" y="461902"/>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08073" y="750861"/>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08080" y="15331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8037" y="1710973"/>
            <a:ext cx="2430308" cy="1824203"/>
          </a:xfrm>
        </p:spPr>
        <p:txBody>
          <a:bodyPr>
            <a:noAutofit/>
          </a:bodyPr>
          <a:lstStyle>
            <a:lvl1pPr marL="0" indent="0" rtl="0">
              <a:spcAft>
                <a:spcPts val="0"/>
              </a:spcAft>
              <a:buFont typeface="Arial" panose="020B0604020202020204" pitchFamily="34" charset="0"/>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337299" indent="-148808">
              <a:spcAft>
                <a:spcPts val="0"/>
              </a:spcAft>
              <a:buFont typeface="Arial" panose="020B0604020202020204" pitchFamily="34" charset="0"/>
              <a:buChar char="•"/>
              <a:defRPr sz="729">
                <a:solidFill>
                  <a:schemeClr val="bg1"/>
                </a:solidFill>
              </a:defRPr>
            </a:lvl2pPr>
            <a:lvl3pPr marL="483629" indent="-148808">
              <a:spcAft>
                <a:spcPts val="0"/>
              </a:spcAft>
              <a:buFont typeface="Arial" panose="020B0604020202020204" pitchFamily="34" charset="0"/>
              <a:buChar char="•"/>
              <a:defRPr sz="729">
                <a:solidFill>
                  <a:schemeClr val="bg1"/>
                </a:solidFill>
              </a:defRPr>
            </a:lvl3pPr>
            <a:lvl4pPr marL="619211" indent="-148808">
              <a:spcAft>
                <a:spcPts val="0"/>
              </a:spcAft>
              <a:buFont typeface="Arial" panose="020B0604020202020204" pitchFamily="34" charset="0"/>
              <a:buChar char="•"/>
              <a:defRPr sz="729">
                <a:solidFill>
                  <a:schemeClr val="bg1"/>
                </a:solidFill>
              </a:defRPr>
            </a:lvl4pPr>
            <a:lvl5pPr marL="760578" indent="-148808">
              <a:spcAft>
                <a:spcPts val="0"/>
              </a:spcAft>
              <a:buFont typeface="Arial" panose="020B0604020202020204" pitchFamily="34" charset="0"/>
              <a:buChar char="•"/>
              <a:defRPr sz="729">
                <a:solidFill>
                  <a:schemeClr val="bg1"/>
                </a:solidFill>
              </a:defRPr>
            </a:lvl5pPr>
          </a:lstStyle>
          <a:p>
            <a:pPr lvl="0"/>
            <a:r>
              <a:rPr lang="en-US"/>
              <a:t>Click to edit Master text styles</a:t>
            </a:r>
          </a:p>
        </p:txBody>
      </p:sp>
      <p:sp>
        <p:nvSpPr>
          <p:cNvPr id="10" name="TextBox 9"/>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3005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2">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a:off x="296653" y="5436101"/>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62080" y="5723245"/>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62083" y="6492213"/>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62043" y="6683349"/>
            <a:ext cx="2430308" cy="1824203"/>
          </a:xfrm>
        </p:spPr>
        <p:txBody>
          <a:bodyPr>
            <a:noAutofit/>
          </a:bodyPr>
          <a:lstStyle>
            <a:lvl1pPr marL="0" indent="0" rtl="0">
              <a:spcAft>
                <a:spcPts val="0"/>
              </a:spcAft>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8801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3">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a:off x="3126430" y="443549"/>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ctr">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3707123" y="635573"/>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07144" y="14045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23067" y="1595677"/>
            <a:ext cx="2430308" cy="1824203"/>
          </a:xfrm>
        </p:spPr>
        <p:txBody>
          <a:bodyPr>
            <a:noAutofit/>
          </a:bodyPr>
          <a:lstStyle>
            <a:lvl1pPr marL="0" indent="0" rtl="0">
              <a:spcAft>
                <a:spcPts val="0"/>
              </a:spcAft>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65054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4">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flipV="1">
            <a:off x="3122230" y="5506157"/>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l" rtl="0">
              <a:buNone/>
              <a:defRPr sz="10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2" name="Title 1"/>
          <p:cNvSpPr>
            <a:spLocks noGrp="1"/>
          </p:cNvSpPr>
          <p:nvPr>
            <p:ph type="title"/>
          </p:nvPr>
        </p:nvSpPr>
        <p:spPr>
          <a:xfrm>
            <a:off x="3957641" y="5698173"/>
            <a:ext cx="2661609"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48836" y="6467149"/>
            <a:ext cx="2920524"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18867" y="6658285"/>
            <a:ext cx="2430308" cy="1824203"/>
          </a:xfrm>
        </p:spPr>
        <p:txBody>
          <a:bodyPr>
            <a:noAutofit/>
          </a:bodyPr>
          <a:lstStyle>
            <a:lvl1pPr marL="0" indent="0">
              <a:spcAft>
                <a:spcPts val="0"/>
              </a:spcAft>
              <a:buNone/>
              <a:defRPr sz="729">
                <a:solidFill>
                  <a:schemeClr val="bg1"/>
                </a:solidFill>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8696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Advisian Cover white">
    <p:spTree>
      <p:nvGrpSpPr>
        <p:cNvPr id="1" name=""/>
        <p:cNvGrpSpPr/>
        <p:nvPr/>
      </p:nvGrpSpPr>
      <p:grpSpPr>
        <a:xfrm>
          <a:off x="0" y="0"/>
          <a:ext cx="0" cy="0"/>
          <a:chOff x="0" y="0"/>
          <a:chExt cx="0" cy="0"/>
        </a:xfrm>
      </p:grpSpPr>
      <p:sp>
        <p:nvSpPr>
          <p:cNvPr id="10" name="Freeform 9"/>
          <p:cNvSpPr/>
          <p:nvPr userDrawn="1"/>
        </p:nvSpPr>
        <p:spPr>
          <a:xfrm>
            <a:off x="3080385" y="-30480"/>
            <a:ext cx="3794760" cy="7345680"/>
          </a:xfrm>
          <a:custGeom>
            <a:avLst/>
            <a:gdLst>
              <a:gd name="connsiteX0" fmla="*/ 0 w 5059680"/>
              <a:gd name="connsiteY0" fmla="*/ 7620 h 5509260"/>
              <a:gd name="connsiteX1" fmla="*/ 2095500 w 5059680"/>
              <a:gd name="connsiteY1" fmla="*/ 5509260 h 5509260"/>
              <a:gd name="connsiteX2" fmla="*/ 5059680 w 5059680"/>
              <a:gd name="connsiteY2" fmla="*/ 5509260 h 5509260"/>
              <a:gd name="connsiteX3" fmla="*/ 5059680 w 5059680"/>
              <a:gd name="connsiteY3" fmla="*/ 0 h 5509260"/>
              <a:gd name="connsiteX4" fmla="*/ 0 w 5059680"/>
              <a:gd name="connsiteY4" fmla="*/ 7620 h 5509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9680" h="5509260">
                <a:moveTo>
                  <a:pt x="0" y="7620"/>
                </a:moveTo>
                <a:lnTo>
                  <a:pt x="2095500" y="5509260"/>
                </a:lnTo>
                <a:lnTo>
                  <a:pt x="5059680" y="5509260"/>
                </a:lnTo>
                <a:lnTo>
                  <a:pt x="5059680" y="0"/>
                </a:lnTo>
                <a:lnTo>
                  <a:pt x="0" y="762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13" name="Parallelogram 10"/>
          <p:cNvSpPr/>
          <p:nvPr userDrawn="1"/>
        </p:nvSpPr>
        <p:spPr>
          <a:xfrm>
            <a:off x="0" y="921328"/>
            <a:ext cx="5696472" cy="8222677"/>
          </a:xfrm>
          <a:custGeom>
            <a:avLst/>
            <a:gdLst/>
            <a:ahLst/>
            <a:cxnLst/>
            <a:rect l="l" t="t" r="r" b="b"/>
            <a:pathLst>
              <a:path w="7595296" h="6167008">
                <a:moveTo>
                  <a:pt x="979814" y="0"/>
                </a:moveTo>
                <a:lnTo>
                  <a:pt x="7595296" y="0"/>
                </a:lnTo>
                <a:lnTo>
                  <a:pt x="4949095" y="6167008"/>
                </a:lnTo>
                <a:lnTo>
                  <a:pt x="4805101" y="6167008"/>
                </a:lnTo>
                <a:lnTo>
                  <a:pt x="7389158" y="144828"/>
                </a:lnTo>
                <a:lnTo>
                  <a:pt x="1086113" y="144828"/>
                </a:lnTo>
                <a:lnTo>
                  <a:pt x="0" y="2676029"/>
                </a:lnTo>
                <a:lnTo>
                  <a:pt x="0" y="228347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pic>
        <p:nvPicPr>
          <p:cNvPr id="18"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59708" y="7776864"/>
            <a:ext cx="1350150" cy="827589"/>
          </a:xfrm>
          <a:prstGeom prst="rect">
            <a:avLst/>
          </a:prstGeom>
        </p:spPr>
      </p:pic>
      <p:sp>
        <p:nvSpPr>
          <p:cNvPr id="20" name="Date Placeholder 3"/>
          <p:cNvSpPr txBox="1">
            <a:spLocks/>
          </p:cNvSpPr>
          <p:nvPr userDrawn="1"/>
        </p:nvSpPr>
        <p:spPr>
          <a:xfrm>
            <a:off x="620316" y="8368795"/>
            <a:ext cx="952128" cy="288032"/>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521" dirty="0">
                <a:solidFill>
                  <a:srgbClr val="000000"/>
                </a:solidFill>
                <a:ea typeface="Segoe UI" panose="020B0502040204020203" pitchFamily="34" charset="0"/>
                <a:cs typeface="Segoe UI" panose="020B0502040204020203" pitchFamily="34" charset="0"/>
              </a:rPr>
              <a:t>www.</a:t>
            </a:r>
            <a:r>
              <a:rPr lang="en-AU" sz="521" b="1" dirty="0">
                <a:solidFill>
                  <a:srgbClr val="000000"/>
                </a:solidFill>
                <a:ea typeface="Segoe UI" panose="020B0502040204020203" pitchFamily="34" charset="0"/>
                <a:cs typeface="Segoe UI" panose="020B0502040204020203" pitchFamily="34" charset="0"/>
              </a:rPr>
              <a:t>Offshore Mining and Civil</a:t>
            </a:r>
            <a:r>
              <a:rPr lang="en-AU" sz="521" dirty="0">
                <a:solidFill>
                  <a:srgbClr val="000000"/>
                </a:solidFill>
                <a:ea typeface="Segoe UI" panose="020B0502040204020203" pitchFamily="34" charset="0"/>
                <a:cs typeface="Segoe UI" panose="020B0502040204020203" pitchFamily="34" charset="0"/>
              </a:rPr>
              <a:t>.com</a:t>
            </a:r>
          </a:p>
        </p:txBody>
      </p:sp>
      <p:sp>
        <p:nvSpPr>
          <p:cNvPr id="3" name="Title 2"/>
          <p:cNvSpPr>
            <a:spLocks noGrp="1"/>
          </p:cNvSpPr>
          <p:nvPr>
            <p:ph type="title"/>
          </p:nvPr>
        </p:nvSpPr>
        <p:spPr>
          <a:xfrm>
            <a:off x="620319" y="2873720"/>
            <a:ext cx="2992859" cy="1990389"/>
          </a:xfrm>
        </p:spPr>
        <p:txBody>
          <a:bodyPr/>
          <a:lstStyle>
            <a:lvl1pPr rtl="0">
              <a:defRPr/>
            </a:lvl1pPr>
          </a:lstStyle>
          <a:p>
            <a:r>
              <a:rPr lang="en-US"/>
              <a:t>Click to edit Master title style</a:t>
            </a:r>
            <a:endParaRPr lang="en-AU" dirty="0"/>
          </a:p>
        </p:txBody>
      </p:sp>
      <p:sp>
        <p:nvSpPr>
          <p:cNvPr id="6" name="Text Placeholder 5"/>
          <p:cNvSpPr>
            <a:spLocks noGrp="1"/>
          </p:cNvSpPr>
          <p:nvPr>
            <p:ph type="body" sz="quarter" idx="10"/>
          </p:nvPr>
        </p:nvSpPr>
        <p:spPr>
          <a:xfrm>
            <a:off x="620319" y="5080008"/>
            <a:ext cx="3022997" cy="524933"/>
          </a:xfrm>
        </p:spPr>
        <p:txBody>
          <a:bodyPr>
            <a:noAutofit/>
          </a:bodyPr>
          <a:lstStyle>
            <a:lvl1pPr rtl="0">
              <a:spcAft>
                <a:spcPts val="0"/>
              </a:spcAft>
              <a:defRPr sz="938"/>
            </a:lvl1pPr>
            <a:lvl2pPr>
              <a:defRPr sz="938"/>
            </a:lvl2pPr>
            <a:lvl3pPr>
              <a:defRPr sz="938"/>
            </a:lvl3pPr>
            <a:lvl4pPr>
              <a:defRPr sz="938"/>
            </a:lvl4pPr>
            <a:lvl5pPr>
              <a:defRPr sz="938"/>
            </a:lvl5pPr>
          </a:lstStyle>
          <a:p>
            <a:pPr lvl="0"/>
            <a:r>
              <a:rPr lang="en-US"/>
              <a:t>Click to edit Master text styles</a:t>
            </a:r>
          </a:p>
        </p:txBody>
      </p:sp>
      <p:sp>
        <p:nvSpPr>
          <p:cNvPr id="8" name="Text Placeholder 7"/>
          <p:cNvSpPr>
            <a:spLocks noGrp="1"/>
          </p:cNvSpPr>
          <p:nvPr>
            <p:ph type="body" sz="quarter" idx="11"/>
          </p:nvPr>
        </p:nvSpPr>
        <p:spPr>
          <a:xfrm>
            <a:off x="620319" y="6487649"/>
            <a:ext cx="3044429" cy="711200"/>
          </a:xfrm>
        </p:spPr>
        <p:txBody>
          <a:bodyPr>
            <a:noAutofit/>
          </a:bodyPr>
          <a:lstStyle>
            <a:lvl1pPr marL="0" indent="0" rtl="0">
              <a:spcAft>
                <a:spcPts val="0"/>
              </a:spcAft>
              <a:buFont typeface="Arial" panose="020B0604020202020204" pitchFamily="34" charset="0"/>
              <a:buNone/>
              <a:defRPr sz="521"/>
            </a:lvl1pPr>
            <a:lvl2pPr marL="0" indent="0">
              <a:buNone/>
              <a:defRPr sz="521"/>
            </a:lvl2pPr>
            <a:lvl3pPr marL="186838" indent="0">
              <a:buNone/>
              <a:defRPr sz="521"/>
            </a:lvl3pPr>
            <a:lvl4pPr marL="372849" indent="0">
              <a:buNone/>
              <a:defRPr sz="521"/>
            </a:lvl4pPr>
            <a:lvl5pPr marL="559687" indent="0">
              <a:buNone/>
              <a:defRPr sz="521"/>
            </a:lvl5pPr>
          </a:lstStyle>
          <a:p>
            <a:pPr lvl="0"/>
            <a:r>
              <a:rPr lang="en-US"/>
              <a:t>Click to edit Master text styles</a:t>
            </a:r>
          </a:p>
        </p:txBody>
      </p:sp>
      <p:grpSp>
        <p:nvGrpSpPr>
          <p:cNvPr id="11" name="Group 10"/>
          <p:cNvGrpSpPr/>
          <p:nvPr userDrawn="1"/>
        </p:nvGrpSpPr>
        <p:grpSpPr>
          <a:xfrm>
            <a:off x="6939441" y="26"/>
            <a:ext cx="2557463" cy="8863937"/>
            <a:chOff x="9252585" y="0"/>
            <a:chExt cx="3409950" cy="6647953"/>
          </a:xfrm>
        </p:grpSpPr>
        <p:sp>
          <p:nvSpPr>
            <p:cNvPr id="12" name="TextBox 11"/>
            <p:cNvSpPr txBox="1"/>
            <p:nvPr userDrawn="1"/>
          </p:nvSpPr>
          <p:spPr>
            <a:xfrm>
              <a:off x="9252585" y="0"/>
              <a:ext cx="3409950" cy="2533867"/>
            </a:xfrm>
            <a:prstGeom prst="rect">
              <a:avLst/>
            </a:prstGeom>
            <a:solidFill>
              <a:schemeClr val="accent2"/>
            </a:solidFill>
          </p:spPr>
          <p:txBody>
            <a:bodyPr wrap="square" rtlCol="0">
              <a:spAutoFit/>
            </a:bodyPr>
            <a:lstStyle/>
            <a:p>
              <a:r>
                <a:rPr lang="en-AU" sz="625" b="1" dirty="0">
                  <a:solidFill>
                    <a:srgbClr val="FFFFFF"/>
                  </a:solidFill>
                </a:rPr>
                <a:t>INSTRUCTIONS FOR CHANGING </a:t>
              </a:r>
              <a:br>
                <a:rPr lang="en-AU" sz="625" b="1" dirty="0">
                  <a:solidFill>
                    <a:srgbClr val="FFFFFF"/>
                  </a:solidFill>
                </a:rPr>
              </a:br>
              <a:r>
                <a:rPr lang="en-AU" sz="625" b="1" dirty="0">
                  <a:solidFill>
                    <a:srgbClr val="FFFFFF"/>
                  </a:solidFill>
                </a:rPr>
                <a:t>COVER IMAGES:</a:t>
              </a:r>
            </a:p>
            <a:p>
              <a:pPr marL="148808" indent="-148808">
                <a:buFont typeface="Arial" panose="020B0604020202020204" pitchFamily="34" charset="0"/>
                <a:buChar char="•"/>
              </a:pPr>
              <a:endParaRPr lang="en-AU" sz="521" dirty="0">
                <a:solidFill>
                  <a:srgbClr val="FFFFFF"/>
                </a:solidFill>
                <a:latin typeface="Segoe UI Semibold" panose="020B0702040204020203" pitchFamily="34" charset="0"/>
              </a:endParaRPr>
            </a:p>
            <a:p>
              <a:pPr marL="148808" indent="-148808">
                <a:buFont typeface="+mj-lt"/>
                <a:buAutoNum type="arabicPeriod"/>
              </a:pPr>
              <a:r>
                <a:rPr lang="en-AU" sz="521" dirty="0">
                  <a:solidFill>
                    <a:srgbClr val="FFFFFF"/>
                  </a:solidFill>
                  <a:latin typeface="Segoe UI Semibold" panose="020B0702040204020203" pitchFamily="34" charset="0"/>
                </a:rPr>
                <a:t>Select both images by holding down </a:t>
              </a:r>
              <a:br>
                <a:rPr lang="en-AU" sz="521" dirty="0">
                  <a:solidFill>
                    <a:srgbClr val="FFFFFF"/>
                  </a:solidFill>
                  <a:latin typeface="Segoe UI Semibold" panose="020B0702040204020203" pitchFamily="34" charset="0"/>
                </a:rPr>
              </a:br>
              <a:r>
                <a:rPr lang="en-AU" sz="521" dirty="0">
                  <a:solidFill>
                    <a:srgbClr val="FFFFFF"/>
                  </a:solidFill>
                  <a:latin typeface="Segoe UI Semibold" panose="020B0702040204020203" pitchFamily="34" charset="0"/>
                </a:rPr>
                <a:t>the ‘Ctrl’ button</a:t>
              </a:r>
            </a:p>
            <a:p>
              <a:pPr marL="148808" indent="-148808">
                <a:buFont typeface="+mj-lt"/>
                <a:buAutoNum type="arabicPeriod"/>
              </a:pPr>
              <a:r>
                <a:rPr lang="en-AU" sz="521" dirty="0">
                  <a:solidFill>
                    <a:srgbClr val="FFFFFF"/>
                  </a:solidFill>
                  <a:latin typeface="Segoe UI Semibold" panose="020B0702040204020203" pitchFamily="34" charset="0"/>
                </a:rPr>
                <a:t>Go to </a:t>
              </a:r>
              <a:r>
                <a:rPr lang="en-AU" sz="521" b="1" dirty="0">
                  <a:solidFill>
                    <a:srgbClr val="00AEEF"/>
                  </a:solidFill>
                </a:rPr>
                <a:t>DRAWING TOOLS</a:t>
              </a:r>
            </a:p>
            <a:p>
              <a:pPr marL="148808" indent="-148808">
                <a:buFont typeface="+mj-lt"/>
                <a:buAutoNum type="arabicPeriod"/>
              </a:pPr>
              <a:r>
                <a:rPr lang="en-AU" sz="521" dirty="0">
                  <a:solidFill>
                    <a:srgbClr val="FFFFFF"/>
                  </a:solidFill>
                  <a:latin typeface="Segoe UI Semibold" panose="020B0702040204020203" pitchFamily="34" charset="0"/>
                </a:rPr>
                <a:t>Click the arrow next to </a:t>
              </a:r>
              <a:r>
                <a:rPr lang="en-AU" sz="521" b="1" dirty="0">
                  <a:solidFill>
                    <a:srgbClr val="00AEEF"/>
                  </a:solidFill>
                </a:rPr>
                <a:t>SHAPE FILL</a:t>
              </a:r>
            </a:p>
            <a:p>
              <a:pPr marL="148808" indent="-148808">
                <a:buFont typeface="+mj-lt"/>
                <a:buAutoNum type="arabicPeriod"/>
              </a:pPr>
              <a:r>
                <a:rPr lang="en-AU" sz="521" dirty="0">
                  <a:solidFill>
                    <a:srgbClr val="FFFFFF"/>
                  </a:solidFill>
                  <a:latin typeface="Segoe UI Semibold" panose="020B0702040204020203" pitchFamily="34" charset="0"/>
                </a:rPr>
                <a:t>Click </a:t>
              </a:r>
              <a:r>
                <a:rPr lang="en-AU" sz="521" b="1" dirty="0">
                  <a:solidFill>
                    <a:srgbClr val="00AEEF"/>
                  </a:solidFill>
                </a:rPr>
                <a:t>PICTURE</a:t>
              </a:r>
            </a:p>
            <a:p>
              <a:pPr marL="148808" indent="-148808">
                <a:buFont typeface="+mj-lt"/>
                <a:buAutoNum type="arabicPeriod"/>
              </a:pPr>
              <a:r>
                <a:rPr lang="en-AU" sz="521" dirty="0">
                  <a:solidFill>
                    <a:srgbClr val="FFFFFF"/>
                  </a:solidFill>
                  <a:latin typeface="Segoe UI Semibold" panose="020B0702040204020203" pitchFamily="34" charset="0"/>
                </a:rPr>
                <a:t>Locate the folder that contains the picture you want to use and click </a:t>
              </a:r>
              <a:r>
                <a:rPr lang="en-AU" sz="521" b="1" dirty="0">
                  <a:solidFill>
                    <a:srgbClr val="00AEEF"/>
                  </a:solidFill>
                </a:rPr>
                <a:t>INSERT</a:t>
              </a: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a:buFont typeface="+mj-lt"/>
                <a:buNone/>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Arial" panose="020B0604020202020204" pitchFamily="34" charset="0"/>
                <a:buChar char="•"/>
              </a:pPr>
              <a:endParaRPr lang="en-AU" sz="521" dirty="0">
                <a:solidFill>
                  <a:srgbClr val="FFFFFF"/>
                </a:solidFill>
                <a:latin typeface="Segoe UI Semibold" panose="020B0702040204020203" pitchFamily="34" charset="0"/>
              </a:endParaRPr>
            </a:p>
            <a:p>
              <a:pPr>
                <a:buFont typeface="Arial" panose="020B0604020202020204" pitchFamily="34" charset="0"/>
                <a:buNone/>
              </a:pPr>
              <a:r>
                <a:rPr lang="en-AU" sz="625" b="1" dirty="0">
                  <a:solidFill>
                    <a:srgbClr val="FFFFFF"/>
                  </a:solidFill>
                </a:rPr>
                <a:t>INSTRUCTIONS TO RESIZE AND REPOSITION YOUR IMAGE:</a:t>
              </a:r>
            </a:p>
            <a:p>
              <a:pPr>
                <a:buFont typeface="Arial" panose="020B0604020202020204" pitchFamily="34" charset="0"/>
                <a:buNone/>
              </a:pPr>
              <a:endParaRPr lang="en-AU" sz="521" b="1" dirty="0">
                <a:solidFill>
                  <a:srgbClr val="FFFFFF"/>
                </a:solidFill>
              </a:endParaRPr>
            </a:p>
            <a:p>
              <a:pPr marL="148808" indent="-148808">
                <a:buFont typeface="+mj-lt"/>
                <a:buAutoNum type="arabicPeriod"/>
                <a:defRPr/>
              </a:pPr>
              <a:r>
                <a:rPr lang="en-AU" sz="521" dirty="0">
                  <a:solidFill>
                    <a:srgbClr val="FFFFFF"/>
                  </a:solidFill>
                  <a:latin typeface="Segoe UI Semibold" panose="020B0702040204020203" pitchFamily="34" charset="0"/>
                </a:rPr>
                <a:t>Click the image you want to edit</a:t>
              </a:r>
            </a:p>
            <a:p>
              <a:pPr marL="148808" indent="-148808">
                <a:buFont typeface="+mj-lt"/>
                <a:buAutoNum type="arabicPeriod"/>
                <a:defRPr/>
              </a:pPr>
              <a:r>
                <a:rPr lang="en-AU" sz="521" dirty="0">
                  <a:solidFill>
                    <a:srgbClr val="FFFFFF"/>
                  </a:solidFill>
                  <a:latin typeface="Segoe UI Semibold" panose="020B0702040204020203" pitchFamily="34" charset="0"/>
                </a:rPr>
                <a:t>Go to </a:t>
              </a:r>
              <a:r>
                <a:rPr lang="en-AU" sz="521" b="1" dirty="0">
                  <a:solidFill>
                    <a:srgbClr val="00AEEF"/>
                  </a:solidFill>
                </a:rPr>
                <a:t>PICTURE TOOLS </a:t>
              </a:r>
            </a:p>
            <a:p>
              <a:pPr marL="148808" indent="-148808">
                <a:buFont typeface="+mj-lt"/>
                <a:buAutoNum type="arabicPeriod"/>
                <a:defRPr/>
              </a:pPr>
              <a:r>
                <a:rPr lang="en-AU" sz="521" dirty="0">
                  <a:solidFill>
                    <a:srgbClr val="FFFFFF"/>
                  </a:solidFill>
                  <a:latin typeface="Segoe UI Semibold" panose="020B0702040204020203" pitchFamily="34" charset="0"/>
                </a:rPr>
                <a:t>To maintain the original size and format </a:t>
              </a:r>
              <a:br>
                <a:rPr lang="en-AU" sz="521" dirty="0">
                  <a:solidFill>
                    <a:srgbClr val="FFFFFF"/>
                  </a:solidFill>
                  <a:latin typeface="Segoe UI Semibold" panose="020B0702040204020203" pitchFamily="34" charset="0"/>
                </a:rPr>
              </a:br>
              <a:r>
                <a:rPr lang="en-AU" sz="521" dirty="0">
                  <a:solidFill>
                    <a:srgbClr val="FFFFFF"/>
                  </a:solidFill>
                  <a:latin typeface="Segoe UI Semibold" panose="020B0702040204020203" pitchFamily="34" charset="0"/>
                </a:rPr>
                <a:t>of the image, click the arrow under </a:t>
              </a:r>
              <a:r>
                <a:rPr lang="en-AU" sz="521" b="1" dirty="0">
                  <a:solidFill>
                    <a:srgbClr val="00AEEF"/>
                  </a:solidFill>
                </a:rPr>
                <a:t>CROP</a:t>
              </a:r>
              <a:r>
                <a:rPr lang="en-AU" sz="521" dirty="0">
                  <a:solidFill>
                    <a:srgbClr val="FFFFFF"/>
                  </a:solidFill>
                  <a:latin typeface="Segoe UI Semibold" panose="020B0702040204020203" pitchFamily="34" charset="0"/>
                </a:rPr>
                <a:t> and click </a:t>
              </a:r>
              <a:r>
                <a:rPr lang="en-AU" sz="521" b="1" dirty="0">
                  <a:solidFill>
                    <a:srgbClr val="00AEEF"/>
                  </a:solidFill>
                </a:rPr>
                <a:t>FIT</a:t>
              </a: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r>
                <a:rPr lang="en-AU" sz="521" dirty="0">
                  <a:solidFill>
                    <a:srgbClr val="FFFFFF"/>
                  </a:solidFill>
                  <a:latin typeface="Segoe UI Semibold" panose="020B0702040204020203" pitchFamily="34" charset="0"/>
                </a:rPr>
                <a:t>To reposition or resize your image, click </a:t>
              </a:r>
              <a:r>
                <a:rPr lang="en-AU" sz="521" b="1" dirty="0">
                  <a:solidFill>
                    <a:srgbClr val="00AEEF"/>
                  </a:solidFill>
                </a:rPr>
                <a:t>CROP</a:t>
              </a:r>
              <a:r>
                <a:rPr lang="en-AU" sz="521" dirty="0">
                  <a:solidFill>
                    <a:srgbClr val="FFFFFF"/>
                  </a:solidFill>
                  <a:latin typeface="Segoe UI Semibold" panose="020B0702040204020203" pitchFamily="34" charset="0"/>
                </a:rPr>
                <a:t>, and use the circles on the edge of the image</a:t>
              </a: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p:txBody>
        </p:sp>
        <p:pic>
          <p:nvPicPr>
            <p:cNvPr id="14" name="Picture 13"/>
            <p:cNvPicPr/>
            <p:nvPr userDrawn="1"/>
          </p:nvPicPr>
          <p:blipFill rotWithShape="1">
            <a:blip r:embed="rId3"/>
            <a:srcRect r="51341"/>
            <a:stretch/>
          </p:blipFill>
          <p:spPr bwMode="auto">
            <a:xfrm>
              <a:off x="9629774" y="1683234"/>
              <a:ext cx="1962152" cy="1325024"/>
            </a:xfrm>
            <a:prstGeom prst="rect">
              <a:avLst/>
            </a:prstGeom>
            <a:ln>
              <a:noFill/>
            </a:ln>
            <a:extLst>
              <a:ext uri="{53640926-AAD7-44D8-BBD7-CCE9431645EC}">
                <a14:shadowObscured xmlns:a14="http://schemas.microsoft.com/office/drawing/2010/main"/>
              </a:ext>
            </a:extLst>
          </p:spPr>
        </p:pic>
        <p:pic>
          <p:nvPicPr>
            <p:cNvPr id="1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629774" y="4508500"/>
              <a:ext cx="849363" cy="1139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5"/>
            <p:cNvPicPr/>
            <p:nvPr userDrawn="1"/>
          </p:nvPicPr>
          <p:blipFill rotWithShape="1">
            <a:blip r:embed="rId5"/>
            <a:srcRect l="28204" t="64535" r="61298" b="23643"/>
            <a:stretch/>
          </p:blipFill>
          <p:spPr bwMode="auto">
            <a:xfrm>
              <a:off x="9629774" y="6089637"/>
              <a:ext cx="1508895" cy="558316"/>
            </a:xfrm>
            <a:prstGeom prst="rect">
              <a:avLst/>
            </a:prstGeom>
            <a:ln>
              <a:noFill/>
            </a:ln>
            <a:extLst>
              <a:ext uri="{53640926-AAD7-44D8-BBD7-CCE9431645EC}">
                <a14:shadowObscured xmlns:a14="http://schemas.microsoft.com/office/drawing/2010/main"/>
              </a:ext>
            </a:extLst>
          </p:spPr>
        </p:pic>
        <p:sp>
          <p:nvSpPr>
            <p:cNvPr id="19" name="Oval 18"/>
            <p:cNvSpPr/>
            <p:nvPr userDrawn="1"/>
          </p:nvSpPr>
          <p:spPr>
            <a:xfrm>
              <a:off x="9896475" y="6276596"/>
              <a:ext cx="582662" cy="21602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grpSp>
    </p:spTree>
    <p:extLst>
      <p:ext uri="{BB962C8B-B14F-4D97-AF65-F5344CB8AC3E}">
        <p14:creationId xmlns:p14="http://schemas.microsoft.com/office/powerpoint/2010/main" val="2955165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_Advisian title &amp; text 2 column">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4" name="Rectangle 3"/>
          <p:cNvSpPr/>
          <p:nvPr userDrawn="1"/>
        </p:nvSpPr>
        <p:spPr>
          <a:xfrm>
            <a:off x="250034" y="5178731"/>
            <a:ext cx="6372225" cy="1166345"/>
          </a:xfrm>
          <a:prstGeom prst="rect">
            <a:avLst/>
          </a:prstGeom>
        </p:spPr>
        <p:txBody>
          <a:bodyPr wrap="square">
            <a:spAutoFit/>
          </a:bodyPr>
          <a:lstStyle/>
          <a:p>
            <a:pPr>
              <a:spcAft>
                <a:spcPts val="313"/>
              </a:spcAft>
            </a:pPr>
            <a:r>
              <a:rPr lang="en-AU" sz="521" b="1" dirty="0">
                <a:solidFill>
                  <a:srgbClr val="A38F68"/>
                </a:solidFill>
                <a:cs typeface="Segoe UI"/>
              </a:rPr>
              <a:t>DISCLAIMER</a:t>
            </a:r>
          </a:p>
          <a:p>
            <a:pPr>
              <a:spcAft>
                <a:spcPts val="313"/>
              </a:spcAft>
            </a:pPr>
            <a:r>
              <a:rPr lang="en-AU" sz="521" dirty="0">
                <a:solidFill>
                  <a:srgbClr val="000000"/>
                </a:solidFill>
                <a:cs typeface="Segoe UI"/>
              </a:rPr>
              <a:t>This presentation has been prepared by a representative of Offshore Mining and Civil.</a:t>
            </a:r>
          </a:p>
          <a:p>
            <a:pPr>
              <a:spcAft>
                <a:spcPts val="313"/>
              </a:spcAft>
            </a:pPr>
            <a:r>
              <a:rPr lang="en-AU" sz="521" dirty="0">
                <a:solidFill>
                  <a:srgbClr val="000000"/>
                </a:solidFill>
                <a:cs typeface="Segoe UI"/>
              </a:rPr>
              <a:t>The presentation contains the professional and personal opinions of the presenter, which are given in good faith.  As such, opinions presented herein may not always necessarily reflect the position of Offshore Mining and Civil as a whole, its officers or executive.</a:t>
            </a:r>
          </a:p>
          <a:p>
            <a:pPr>
              <a:spcAft>
                <a:spcPts val="313"/>
              </a:spcAft>
            </a:pPr>
            <a:r>
              <a:rPr lang="en-AU" sz="521" dirty="0">
                <a:solidFill>
                  <a:srgbClr val="000000"/>
                </a:solidFill>
                <a:cs typeface="Segoe UI"/>
              </a:rPr>
              <a:t>Any forward-looking statements included in this presentation will involve subjective judgment and analysis and are subject to uncertainties, risks and contingencies—many of which are outside the control of, and may be unknown to, Offshore Mining and Civil.  </a:t>
            </a:r>
          </a:p>
          <a:p>
            <a:pPr>
              <a:spcAft>
                <a:spcPts val="313"/>
              </a:spcAft>
            </a:pPr>
            <a:r>
              <a:rPr lang="en-AU" sz="521" dirty="0">
                <a:solidFill>
                  <a:srgbClr val="000000"/>
                </a:solidFill>
                <a:cs typeface="Segoe UI"/>
              </a:rPr>
              <a:t>Offshore Mining and Civil and all associated entities and representatives make no representation or warranty as to the accuracy, reliability or completeness of information in this document and do not take responsibility for updating any information or correcting any error or omission that may become apparent after this document has been issued.</a:t>
            </a:r>
          </a:p>
          <a:p>
            <a:pPr>
              <a:spcAft>
                <a:spcPts val="313"/>
              </a:spcAft>
            </a:pPr>
            <a:r>
              <a:rPr lang="en-AU" sz="521" dirty="0">
                <a:solidFill>
                  <a:srgbClr val="000000"/>
                </a:solidFill>
                <a:cs typeface="Segoe UI"/>
              </a:rPr>
              <a:t>To the extent permitted by law, Offshore Mining and Civil and its officers, employees, related bodies and agents disclaim all liability—direct, indirect or consequential (and whether or not arising out of the negligence, default or lack of care of Offshore Mining and Civil and/or any of its agents)—for any loss or damage suffered by a recipient or other persons arising out of, or in connection with, any use or reliance on this presentation or information.</a:t>
            </a:r>
          </a:p>
        </p:txBody>
      </p:sp>
    </p:spTree>
    <p:extLst>
      <p:ext uri="{BB962C8B-B14F-4D97-AF65-F5344CB8AC3E}">
        <p14:creationId xmlns:p14="http://schemas.microsoft.com/office/powerpoint/2010/main" val="128496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dvisian Title no content">
    <p:spTree>
      <p:nvGrpSpPr>
        <p:cNvPr id="1" name=""/>
        <p:cNvGrpSpPr/>
        <p:nvPr/>
      </p:nvGrpSpPr>
      <p:grpSpPr>
        <a:xfrm>
          <a:off x="0" y="0"/>
          <a:ext cx="0" cy="0"/>
          <a:chOff x="0" y="0"/>
          <a:chExt cx="0" cy="0"/>
        </a:xfrm>
      </p:grpSpPr>
      <p:sp>
        <p:nvSpPr>
          <p:cNvPr id="2" name="Title 1"/>
          <p:cNvSpPr>
            <a:spLocks noGrp="1"/>
          </p:cNvSpPr>
          <p:nvPr>
            <p:ph type="title"/>
          </p:nvPr>
        </p:nvSpPr>
        <p:spPr>
          <a:xfrm>
            <a:off x="591258" y="63509"/>
            <a:ext cx="6102678" cy="1076408"/>
          </a:xfrm>
        </p:spPr>
        <p:txBody>
          <a:bodyPr>
            <a:normAutofit/>
          </a:bodyPr>
          <a:lstStyle>
            <a:lvl1pPr>
              <a:defRPr sz="1500"/>
            </a:lvl1pPr>
          </a:lstStyle>
          <a:p>
            <a:r>
              <a:rPr lang="en-US" dirty="0"/>
              <a:t>Click to edit Master title style</a:t>
            </a:r>
            <a:endParaRPr lang="en-AU" dirty="0"/>
          </a:p>
        </p:txBody>
      </p:sp>
      <p:sp>
        <p:nvSpPr>
          <p:cNvPr id="3" name="Slide Number Placeholder 2"/>
          <p:cNvSpPr>
            <a:spLocks noGrp="1"/>
          </p:cNvSpPr>
          <p:nvPr>
            <p:ph type="sldNum" sz="quarter" idx="10"/>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41289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dvisian title and tex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sz="1500" b="0">
                <a:solidFill>
                  <a:srgbClr val="162934"/>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313"/>
              </a:spcAft>
              <a:buNone/>
              <a:defRPr sz="1042">
                <a:latin typeface="Segoe UI" panose="020B0502040204020203" pitchFamily="34" charset="0"/>
                <a:ea typeface="Segoe UI" panose="020B0502040204020203" pitchFamily="34" charset="0"/>
                <a:cs typeface="Segoe UI" panose="020B0502040204020203" pitchFamily="34" charset="0"/>
              </a:defRPr>
            </a:lvl1pPr>
            <a:lvl2pPr marL="186838" indent="-186838" rtl="0">
              <a:spcAft>
                <a:spcPts val="313"/>
              </a:spcAft>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6012" rtl="0">
              <a:spcAft>
                <a:spcPts val="313"/>
              </a:spcAft>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51420" indent="-178571" rtl="0">
              <a:spcAft>
                <a:spcPts val="313"/>
              </a:spcAft>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5697" indent="-186012">
              <a:spcAft>
                <a:spcPts val="1250"/>
              </a:spcAft>
              <a:buFont typeface="Arial" panose="020B0604020202020204" pitchFamily="34" charset="0"/>
              <a:buChar char="•"/>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p:txBody>
          <a:bodyPr/>
          <a:lstStyle>
            <a:lvl1pPr rtl="0">
              <a:defRPr>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6" name="Freeform 5"/>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3230360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Advisian title and text">
    <p:bg>
      <p:bgPr>
        <a:solidFill>
          <a:schemeClr val="tx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313"/>
              </a:spcAft>
              <a:buNone/>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6838" indent="-186838" rtl="0">
              <a:spcAft>
                <a:spcPts val="313"/>
              </a:spcAft>
              <a:buClr>
                <a:schemeClr val="bg1"/>
              </a:buClr>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marL="372849" indent="-186012" rtl="0">
              <a:spcAft>
                <a:spcPts val="313"/>
              </a:spcAft>
              <a:buClr>
                <a:schemeClr val="bg1"/>
              </a:buClr>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marL="551420" indent="-178571" rtl="0">
              <a:spcAft>
                <a:spcPts val="313"/>
              </a:spcAft>
              <a:buClr>
                <a:schemeClr val="bg1"/>
              </a:buClr>
              <a:buSzPct val="90000"/>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marL="745697" indent="-186012">
              <a:spcAft>
                <a:spcPts val="1250"/>
              </a:spcAft>
              <a:buFont typeface="Arial" panose="020B0604020202020204" pitchFamily="34" charset="0"/>
              <a:buChar char="•"/>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solidFill>
              </a:rPr>
              <a:t> Offshore Mining and Civil  / </a:t>
            </a:r>
            <a:fld id="{CFD780AD-5876-4BCA-80DC-E96648A7269F}" type="slidenum">
              <a:rPr lang="en-AU" smtClean="0">
                <a:solidFill>
                  <a:srgbClr val="FFFFFF"/>
                </a:solidFill>
              </a:rPr>
              <a:pPr/>
              <a:t>‹#›</a:t>
            </a:fld>
            <a:endParaRPr lang="en-AU" dirty="0">
              <a:solidFill>
                <a:srgbClr val="FFFFFF"/>
              </a:solidFill>
            </a:endParaRPr>
          </a:p>
        </p:txBody>
      </p:sp>
      <p:sp>
        <p:nvSpPr>
          <p:cNvPr id="6" name="Freeform 5"/>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2834756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sz="1500" b="0">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6" y="1787172"/>
            <a:ext cx="2883084" cy="6570927"/>
          </a:xfrm>
        </p:spPr>
        <p:txBody>
          <a:bodyPr>
            <a:normAutofit/>
          </a:bodyPr>
          <a:lstStyle>
            <a:lvl1pPr marL="0" indent="0" rtl="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rtl="0">
              <a:buClr>
                <a:schemeClr val="accent1"/>
              </a:buClr>
              <a:buSzPct val="90000"/>
              <a:buFont typeface="Arial" panose="020B0604020202020204" pitchFamily="34" charset="0"/>
              <a:buChar char="•"/>
              <a:tabLst/>
              <a:defRPr sz="1042">
                <a:latin typeface="Segoe UI" panose="020B0502040204020203" pitchFamily="34" charset="0"/>
                <a:ea typeface="Segoe UI" panose="020B0502040204020203" pitchFamily="34" charset="0"/>
                <a:cs typeface="Segoe UI" panose="020B0502040204020203" pitchFamily="34" charset="0"/>
              </a:defRPr>
            </a:lvl4pPr>
            <a:lvl5pPr marL="746524" indent="-185184">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quarter" idx="11"/>
          </p:nvPr>
        </p:nvSpPr>
        <p:spPr>
          <a:xfrm>
            <a:off x="3740364" y="1787172"/>
            <a:ext cx="2883084" cy="6570927"/>
          </a:xfrm>
        </p:spPr>
        <p:txBody>
          <a:bodyPr>
            <a:normAutofit/>
          </a:bodyPr>
          <a:lstStyle>
            <a:lvl1pPr marL="0" indent="0" rtl="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rtl="0">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9005" indent="-187665">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8" name="Freeform 7"/>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9"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24722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887948"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1"/>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20978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dvisian 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1258" y="-1"/>
            <a:ext cx="6102678" cy="1139909"/>
          </a:xfrm>
        </p:spPr>
        <p:txBody>
          <a:bodyPr>
            <a:normAutofit/>
          </a:bodyPr>
          <a:lstStyle>
            <a:lvl1pPr>
              <a:defRPr sz="1500" b="0">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8" name="Picture Placeholder 5"/>
          <p:cNvSpPr>
            <a:spLocks noGrp="1"/>
          </p:cNvSpPr>
          <p:nvPr>
            <p:ph type="pic" sz="quarter" idx="14"/>
          </p:nvPr>
        </p:nvSpPr>
        <p:spPr>
          <a:xfrm>
            <a:off x="-7142" y="1788589"/>
            <a:ext cx="2477217" cy="3610187"/>
          </a:xfrm>
          <a:custGeom>
            <a:avLst/>
            <a:gdLst>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5010231 w 5560752"/>
              <a:gd name="connsiteY17" fmla="*/ 2899066 h 6868800"/>
              <a:gd name="connsiteX18" fmla="*/ 4091146 w 5560752"/>
              <a:gd name="connsiteY18" fmla="*/ 5064754 h 6868800"/>
              <a:gd name="connsiteX19" fmla="*/ 3981817 w 5560752"/>
              <a:gd name="connsiteY19" fmla="*/ 5064753 h 6868800"/>
              <a:gd name="connsiteX20" fmla="*/ 3313099 w 5560752"/>
              <a:gd name="connsiteY20" fmla="*/ 3306692 h 6868800"/>
              <a:gd name="connsiteX21" fmla="*/ 2652829 w 5560752"/>
              <a:gd name="connsiteY21" fmla="*/ 3306692 h 6868800"/>
              <a:gd name="connsiteX22" fmla="*/ 2828495 w 5560752"/>
              <a:gd name="connsiteY22" fmla="*/ 2897733 h 6868800"/>
              <a:gd name="connsiteX23" fmla="*/ 0 w 5560752"/>
              <a:gd name="connsiteY23" fmla="*/ 0 h 6868800"/>
              <a:gd name="connsiteX24" fmla="*/ 5560752 w 5560752"/>
              <a:gd name="connsiteY24" fmla="*/ 0 h 6868800"/>
              <a:gd name="connsiteX25" fmla="*/ 5560752 w 5560752"/>
              <a:gd name="connsiteY25" fmla="*/ 6868800 h 6868800"/>
              <a:gd name="connsiteX26" fmla="*/ 2621885 w 5560752"/>
              <a:gd name="connsiteY26" fmla="*/ 6868800 h 6868800"/>
              <a:gd name="connsiteX27" fmla="*/ 2418035 w 5560752"/>
              <a:gd name="connsiteY27" fmla="*/ 6334754 h 6868800"/>
              <a:gd name="connsiteX28" fmla="*/ 4464207 w 5560752"/>
              <a:gd name="connsiteY28" fmla="*/ 6332960 h 6868800"/>
              <a:gd name="connsiteX29" fmla="*/ 3996958 w 5560752"/>
              <a:gd name="connsiteY29" fmla="*/ 5104559 h 6868800"/>
              <a:gd name="connsiteX30" fmla="*/ 4119221 w 5560752"/>
              <a:gd name="connsiteY30" fmla="*/ 5104563 h 6868800"/>
              <a:gd name="connsiteX31" fmla="*/ 2794373 w 5560752"/>
              <a:gd name="connsiteY31" fmla="*/ 2860946 h 6868800"/>
              <a:gd name="connsiteX32" fmla="*/ 2604149 w 5560752"/>
              <a:gd name="connsiteY32" fmla="*/ 3306692 h 6868800"/>
              <a:gd name="connsiteX33" fmla="*/ 1262196 w 5560752"/>
              <a:gd name="connsiteY33" fmla="*/ 3306692 h 6868800"/>
              <a:gd name="connsiteX34" fmla="*/ 0 w 5560752"/>
              <a:gd name="connsiteY34"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4119221 w 5560752"/>
              <a:gd name="connsiteY29" fmla="*/ 5104563 h 6868800"/>
              <a:gd name="connsiteX30" fmla="*/ 2794373 w 5560752"/>
              <a:gd name="connsiteY30" fmla="*/ 2860946 h 6868800"/>
              <a:gd name="connsiteX31" fmla="*/ 2604149 w 5560752"/>
              <a:gd name="connsiteY31" fmla="*/ 3306692 h 6868800"/>
              <a:gd name="connsiteX32" fmla="*/ 1262196 w 5560752"/>
              <a:gd name="connsiteY32" fmla="*/ 3306692 h 6868800"/>
              <a:gd name="connsiteX33" fmla="*/ 0 w 5560752"/>
              <a:gd name="connsiteY33"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2794373 w 5560752"/>
              <a:gd name="connsiteY29" fmla="*/ 2860946 h 6868800"/>
              <a:gd name="connsiteX30" fmla="*/ 2604149 w 5560752"/>
              <a:gd name="connsiteY30" fmla="*/ 3306692 h 6868800"/>
              <a:gd name="connsiteX31" fmla="*/ 1262196 w 5560752"/>
              <a:gd name="connsiteY31" fmla="*/ 3306692 h 6868800"/>
              <a:gd name="connsiteX32" fmla="*/ 0 w 5560752"/>
              <a:gd name="connsiteY32"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2794373 w 5560752"/>
              <a:gd name="connsiteY28" fmla="*/ 2860946 h 6868800"/>
              <a:gd name="connsiteX29" fmla="*/ 2604149 w 5560752"/>
              <a:gd name="connsiteY29" fmla="*/ 3306692 h 6868800"/>
              <a:gd name="connsiteX30" fmla="*/ 1262196 w 5560752"/>
              <a:gd name="connsiteY30" fmla="*/ 3306692 h 6868800"/>
              <a:gd name="connsiteX31" fmla="*/ 0 w 5560752"/>
              <a:gd name="connsiteY31"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981817 w 5560752"/>
              <a:gd name="connsiteY17" fmla="*/ 5064753 h 6868800"/>
              <a:gd name="connsiteX18" fmla="*/ 3313099 w 5560752"/>
              <a:gd name="connsiteY18" fmla="*/ 3306692 h 6868800"/>
              <a:gd name="connsiteX19" fmla="*/ 2652829 w 5560752"/>
              <a:gd name="connsiteY19" fmla="*/ 3306692 h 6868800"/>
              <a:gd name="connsiteX20" fmla="*/ 2828495 w 5560752"/>
              <a:gd name="connsiteY20" fmla="*/ 2897733 h 6868800"/>
              <a:gd name="connsiteX21" fmla="*/ 0 w 5560752"/>
              <a:gd name="connsiteY21" fmla="*/ 0 h 6868800"/>
              <a:gd name="connsiteX22" fmla="*/ 5560752 w 5560752"/>
              <a:gd name="connsiteY22" fmla="*/ 0 h 6868800"/>
              <a:gd name="connsiteX23" fmla="*/ 5560752 w 5560752"/>
              <a:gd name="connsiteY23" fmla="*/ 6868800 h 6868800"/>
              <a:gd name="connsiteX24" fmla="*/ 2621885 w 5560752"/>
              <a:gd name="connsiteY24" fmla="*/ 6868800 h 6868800"/>
              <a:gd name="connsiteX25" fmla="*/ 2418035 w 5560752"/>
              <a:gd name="connsiteY25" fmla="*/ 6334754 h 6868800"/>
              <a:gd name="connsiteX26" fmla="*/ 4464207 w 5560752"/>
              <a:gd name="connsiteY26" fmla="*/ 6332960 h 6868800"/>
              <a:gd name="connsiteX27" fmla="*/ 2794373 w 5560752"/>
              <a:gd name="connsiteY27" fmla="*/ 2860946 h 6868800"/>
              <a:gd name="connsiteX28" fmla="*/ 2604149 w 5560752"/>
              <a:gd name="connsiteY28" fmla="*/ 3306692 h 6868800"/>
              <a:gd name="connsiteX29" fmla="*/ 1262196 w 5560752"/>
              <a:gd name="connsiteY29" fmla="*/ 3306692 h 6868800"/>
              <a:gd name="connsiteX30" fmla="*/ 0 w 5560752"/>
              <a:gd name="connsiteY30"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313099 w 5560752"/>
              <a:gd name="connsiteY17" fmla="*/ 3306692 h 6868800"/>
              <a:gd name="connsiteX18" fmla="*/ 2652829 w 5560752"/>
              <a:gd name="connsiteY18" fmla="*/ 3306692 h 6868800"/>
              <a:gd name="connsiteX19" fmla="*/ 2828495 w 5560752"/>
              <a:gd name="connsiteY19" fmla="*/ 2897733 h 6868800"/>
              <a:gd name="connsiteX20" fmla="*/ 0 w 5560752"/>
              <a:gd name="connsiteY20" fmla="*/ 0 h 6868800"/>
              <a:gd name="connsiteX21" fmla="*/ 5560752 w 5560752"/>
              <a:gd name="connsiteY21" fmla="*/ 0 h 6868800"/>
              <a:gd name="connsiteX22" fmla="*/ 5560752 w 5560752"/>
              <a:gd name="connsiteY22" fmla="*/ 6868800 h 6868800"/>
              <a:gd name="connsiteX23" fmla="*/ 2621885 w 5560752"/>
              <a:gd name="connsiteY23" fmla="*/ 6868800 h 6868800"/>
              <a:gd name="connsiteX24" fmla="*/ 2418035 w 5560752"/>
              <a:gd name="connsiteY24" fmla="*/ 6334754 h 6868800"/>
              <a:gd name="connsiteX25" fmla="*/ 4464207 w 5560752"/>
              <a:gd name="connsiteY25" fmla="*/ 6332960 h 6868800"/>
              <a:gd name="connsiteX26" fmla="*/ 2794373 w 5560752"/>
              <a:gd name="connsiteY26" fmla="*/ 2860946 h 6868800"/>
              <a:gd name="connsiteX27" fmla="*/ 2604149 w 5560752"/>
              <a:gd name="connsiteY27" fmla="*/ 3306692 h 6868800"/>
              <a:gd name="connsiteX28" fmla="*/ 1262196 w 5560752"/>
              <a:gd name="connsiteY28" fmla="*/ 3306692 h 6868800"/>
              <a:gd name="connsiteX29" fmla="*/ 0 w 5560752"/>
              <a:gd name="connsiteY29"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4464207 w 5560752"/>
              <a:gd name="connsiteY24" fmla="*/ 6332960 h 6868800"/>
              <a:gd name="connsiteX25" fmla="*/ 2794373 w 5560752"/>
              <a:gd name="connsiteY25" fmla="*/ 2860946 h 6868800"/>
              <a:gd name="connsiteX26" fmla="*/ 2604149 w 5560752"/>
              <a:gd name="connsiteY26" fmla="*/ 3306692 h 6868800"/>
              <a:gd name="connsiteX27" fmla="*/ 1262196 w 5560752"/>
              <a:gd name="connsiteY27" fmla="*/ 3306692 h 6868800"/>
              <a:gd name="connsiteX28" fmla="*/ 0 w 5560752"/>
              <a:gd name="connsiteY28"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2794373 w 5560752"/>
              <a:gd name="connsiteY24" fmla="*/ 2860946 h 6868800"/>
              <a:gd name="connsiteX25" fmla="*/ 2604149 w 5560752"/>
              <a:gd name="connsiteY25" fmla="*/ 3306692 h 6868800"/>
              <a:gd name="connsiteX26" fmla="*/ 1262196 w 5560752"/>
              <a:gd name="connsiteY26" fmla="*/ 3306692 h 6868800"/>
              <a:gd name="connsiteX27" fmla="*/ 0 w 5560752"/>
              <a:gd name="connsiteY27"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3653877 w 5560752"/>
              <a:gd name="connsiteY7" fmla="*/ 5064749 h 6868800"/>
              <a:gd name="connsiteX8" fmla="*/ 1934805 w 5560752"/>
              <a:gd name="connsiteY8" fmla="*/ 5064727 h 6868800"/>
              <a:gd name="connsiteX9" fmla="*/ 1917376 w 5560752"/>
              <a:gd name="connsiteY9" fmla="*/ 5018866 h 6868800"/>
              <a:gd name="connsiteX10" fmla="*/ 2523173 w 5560752"/>
              <a:gd name="connsiteY10" fmla="*/ 3608540 h 6868800"/>
              <a:gd name="connsiteX11" fmla="*/ 1381398 w 5560752"/>
              <a:gd name="connsiteY11" fmla="*/ 3608540 h 6868800"/>
              <a:gd name="connsiteX12" fmla="*/ 2475335 w 5560752"/>
              <a:gd name="connsiteY12" fmla="*/ 3608540 h 6868800"/>
              <a:gd name="connsiteX13" fmla="*/ 1896695 w 5560752"/>
              <a:gd name="connsiteY13" fmla="*/ 4964449 h 6868800"/>
              <a:gd name="connsiteX14" fmla="*/ 1381398 w 5560752"/>
              <a:gd name="connsiteY14" fmla="*/ 3608540 h 6868800"/>
              <a:gd name="connsiteX15" fmla="*/ 2828495 w 5560752"/>
              <a:gd name="connsiteY15" fmla="*/ 2897733 h 6868800"/>
              <a:gd name="connsiteX16" fmla="*/ 2652829 w 5560752"/>
              <a:gd name="connsiteY16" fmla="*/ 3306692 h 6868800"/>
              <a:gd name="connsiteX17" fmla="*/ 2828495 w 5560752"/>
              <a:gd name="connsiteY17" fmla="*/ 2897733 h 6868800"/>
              <a:gd name="connsiteX18" fmla="*/ 0 w 5560752"/>
              <a:gd name="connsiteY18" fmla="*/ 0 h 6868800"/>
              <a:gd name="connsiteX19" fmla="*/ 5560752 w 5560752"/>
              <a:gd name="connsiteY19" fmla="*/ 0 h 6868800"/>
              <a:gd name="connsiteX20" fmla="*/ 5560752 w 5560752"/>
              <a:gd name="connsiteY20" fmla="*/ 6868800 h 6868800"/>
              <a:gd name="connsiteX21" fmla="*/ 2621885 w 5560752"/>
              <a:gd name="connsiteY21" fmla="*/ 6868800 h 6868800"/>
              <a:gd name="connsiteX22" fmla="*/ 2418035 w 5560752"/>
              <a:gd name="connsiteY22" fmla="*/ 6334754 h 6868800"/>
              <a:gd name="connsiteX23" fmla="*/ 2794373 w 5560752"/>
              <a:gd name="connsiteY23" fmla="*/ 2860946 h 6868800"/>
              <a:gd name="connsiteX24" fmla="*/ 2604149 w 5560752"/>
              <a:gd name="connsiteY24" fmla="*/ 3306692 h 6868800"/>
              <a:gd name="connsiteX25" fmla="*/ 1262196 w 5560752"/>
              <a:gd name="connsiteY25" fmla="*/ 3306692 h 6868800"/>
              <a:gd name="connsiteX26" fmla="*/ 0 w 5560752"/>
              <a:gd name="connsiteY26"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1934805 w 5560752"/>
              <a:gd name="connsiteY7" fmla="*/ 5064727 h 6868800"/>
              <a:gd name="connsiteX8" fmla="*/ 1917376 w 5560752"/>
              <a:gd name="connsiteY8" fmla="*/ 5018866 h 6868800"/>
              <a:gd name="connsiteX9" fmla="*/ 2523173 w 5560752"/>
              <a:gd name="connsiteY9" fmla="*/ 3608540 h 6868800"/>
              <a:gd name="connsiteX10" fmla="*/ 1381398 w 5560752"/>
              <a:gd name="connsiteY10" fmla="*/ 3608540 h 6868800"/>
              <a:gd name="connsiteX11" fmla="*/ 2475335 w 5560752"/>
              <a:gd name="connsiteY11" fmla="*/ 3608540 h 6868800"/>
              <a:gd name="connsiteX12" fmla="*/ 1896695 w 5560752"/>
              <a:gd name="connsiteY12" fmla="*/ 4964449 h 6868800"/>
              <a:gd name="connsiteX13" fmla="*/ 1381398 w 5560752"/>
              <a:gd name="connsiteY13" fmla="*/ 3608540 h 6868800"/>
              <a:gd name="connsiteX14" fmla="*/ 2828495 w 5560752"/>
              <a:gd name="connsiteY14" fmla="*/ 2897733 h 6868800"/>
              <a:gd name="connsiteX15" fmla="*/ 2652829 w 5560752"/>
              <a:gd name="connsiteY15" fmla="*/ 3306692 h 6868800"/>
              <a:gd name="connsiteX16" fmla="*/ 2828495 w 5560752"/>
              <a:gd name="connsiteY16" fmla="*/ 2897733 h 6868800"/>
              <a:gd name="connsiteX17" fmla="*/ 0 w 5560752"/>
              <a:gd name="connsiteY17" fmla="*/ 0 h 6868800"/>
              <a:gd name="connsiteX18" fmla="*/ 5560752 w 5560752"/>
              <a:gd name="connsiteY18" fmla="*/ 0 h 6868800"/>
              <a:gd name="connsiteX19" fmla="*/ 5560752 w 5560752"/>
              <a:gd name="connsiteY19" fmla="*/ 6868800 h 6868800"/>
              <a:gd name="connsiteX20" fmla="*/ 2621885 w 5560752"/>
              <a:gd name="connsiteY20" fmla="*/ 6868800 h 6868800"/>
              <a:gd name="connsiteX21" fmla="*/ 2418035 w 5560752"/>
              <a:gd name="connsiteY21" fmla="*/ 6334754 h 6868800"/>
              <a:gd name="connsiteX22" fmla="*/ 2794373 w 5560752"/>
              <a:gd name="connsiteY22" fmla="*/ 2860946 h 6868800"/>
              <a:gd name="connsiteX23" fmla="*/ 2604149 w 5560752"/>
              <a:gd name="connsiteY23" fmla="*/ 3306692 h 6868800"/>
              <a:gd name="connsiteX24" fmla="*/ 1262196 w 5560752"/>
              <a:gd name="connsiteY24" fmla="*/ 3306692 h 6868800"/>
              <a:gd name="connsiteX25" fmla="*/ 0 w 5560752"/>
              <a:gd name="connsiteY25"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3100461 w 5560752"/>
              <a:gd name="connsiteY5" fmla="*/ 3608540 h 6868800"/>
              <a:gd name="connsiteX6" fmla="*/ 1934805 w 5560752"/>
              <a:gd name="connsiteY6" fmla="*/ 5064727 h 6868800"/>
              <a:gd name="connsiteX7" fmla="*/ 1917376 w 5560752"/>
              <a:gd name="connsiteY7" fmla="*/ 5018866 h 6868800"/>
              <a:gd name="connsiteX8" fmla="*/ 2523173 w 5560752"/>
              <a:gd name="connsiteY8" fmla="*/ 3608540 h 6868800"/>
              <a:gd name="connsiteX9" fmla="*/ 1381398 w 5560752"/>
              <a:gd name="connsiteY9" fmla="*/ 3608540 h 6868800"/>
              <a:gd name="connsiteX10" fmla="*/ 2475335 w 5560752"/>
              <a:gd name="connsiteY10" fmla="*/ 3608540 h 6868800"/>
              <a:gd name="connsiteX11" fmla="*/ 1896695 w 5560752"/>
              <a:gd name="connsiteY11" fmla="*/ 4964449 h 6868800"/>
              <a:gd name="connsiteX12" fmla="*/ 1381398 w 5560752"/>
              <a:gd name="connsiteY12" fmla="*/ 3608540 h 6868800"/>
              <a:gd name="connsiteX13" fmla="*/ 2828495 w 5560752"/>
              <a:gd name="connsiteY13" fmla="*/ 2897733 h 6868800"/>
              <a:gd name="connsiteX14" fmla="*/ 2652829 w 5560752"/>
              <a:gd name="connsiteY14" fmla="*/ 3306692 h 6868800"/>
              <a:gd name="connsiteX15" fmla="*/ 2828495 w 5560752"/>
              <a:gd name="connsiteY15" fmla="*/ 2897733 h 6868800"/>
              <a:gd name="connsiteX16" fmla="*/ 0 w 5560752"/>
              <a:gd name="connsiteY16" fmla="*/ 0 h 6868800"/>
              <a:gd name="connsiteX17" fmla="*/ 5560752 w 5560752"/>
              <a:gd name="connsiteY17" fmla="*/ 0 h 6868800"/>
              <a:gd name="connsiteX18" fmla="*/ 5560752 w 5560752"/>
              <a:gd name="connsiteY18" fmla="*/ 6868800 h 6868800"/>
              <a:gd name="connsiteX19" fmla="*/ 2621885 w 5560752"/>
              <a:gd name="connsiteY19" fmla="*/ 6868800 h 6868800"/>
              <a:gd name="connsiteX20" fmla="*/ 2418035 w 5560752"/>
              <a:gd name="connsiteY20" fmla="*/ 6334754 h 6868800"/>
              <a:gd name="connsiteX21" fmla="*/ 2794373 w 5560752"/>
              <a:gd name="connsiteY21" fmla="*/ 2860946 h 6868800"/>
              <a:gd name="connsiteX22" fmla="*/ 2604149 w 5560752"/>
              <a:gd name="connsiteY22" fmla="*/ 3306692 h 6868800"/>
              <a:gd name="connsiteX23" fmla="*/ 1262196 w 5560752"/>
              <a:gd name="connsiteY23" fmla="*/ 3306692 h 6868800"/>
              <a:gd name="connsiteX24" fmla="*/ 0 w 5560752"/>
              <a:gd name="connsiteY24"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1934805 w 5560752"/>
              <a:gd name="connsiteY5" fmla="*/ 5064727 h 6868800"/>
              <a:gd name="connsiteX6" fmla="*/ 1917376 w 5560752"/>
              <a:gd name="connsiteY6" fmla="*/ 5018866 h 6868800"/>
              <a:gd name="connsiteX7" fmla="*/ 2523173 w 5560752"/>
              <a:gd name="connsiteY7" fmla="*/ 3608540 h 6868800"/>
              <a:gd name="connsiteX8" fmla="*/ 1381398 w 5560752"/>
              <a:gd name="connsiteY8" fmla="*/ 3608540 h 6868800"/>
              <a:gd name="connsiteX9" fmla="*/ 2475335 w 5560752"/>
              <a:gd name="connsiteY9" fmla="*/ 3608540 h 6868800"/>
              <a:gd name="connsiteX10" fmla="*/ 1896695 w 5560752"/>
              <a:gd name="connsiteY10" fmla="*/ 4964449 h 6868800"/>
              <a:gd name="connsiteX11" fmla="*/ 1381398 w 5560752"/>
              <a:gd name="connsiteY11" fmla="*/ 3608540 h 6868800"/>
              <a:gd name="connsiteX12" fmla="*/ 2828495 w 5560752"/>
              <a:gd name="connsiteY12" fmla="*/ 2897733 h 6868800"/>
              <a:gd name="connsiteX13" fmla="*/ 2652829 w 5560752"/>
              <a:gd name="connsiteY13" fmla="*/ 3306692 h 6868800"/>
              <a:gd name="connsiteX14" fmla="*/ 2828495 w 5560752"/>
              <a:gd name="connsiteY14" fmla="*/ 2897733 h 6868800"/>
              <a:gd name="connsiteX15" fmla="*/ 0 w 5560752"/>
              <a:gd name="connsiteY15" fmla="*/ 0 h 6868800"/>
              <a:gd name="connsiteX16" fmla="*/ 5560752 w 5560752"/>
              <a:gd name="connsiteY16" fmla="*/ 0 h 6868800"/>
              <a:gd name="connsiteX17" fmla="*/ 5560752 w 5560752"/>
              <a:gd name="connsiteY17" fmla="*/ 6868800 h 6868800"/>
              <a:gd name="connsiteX18" fmla="*/ 2621885 w 5560752"/>
              <a:gd name="connsiteY18" fmla="*/ 6868800 h 6868800"/>
              <a:gd name="connsiteX19" fmla="*/ 2418035 w 5560752"/>
              <a:gd name="connsiteY19" fmla="*/ 6334754 h 6868800"/>
              <a:gd name="connsiteX20" fmla="*/ 2794373 w 5560752"/>
              <a:gd name="connsiteY20" fmla="*/ 2860946 h 6868800"/>
              <a:gd name="connsiteX21" fmla="*/ 2604149 w 5560752"/>
              <a:gd name="connsiteY21" fmla="*/ 3306692 h 6868800"/>
              <a:gd name="connsiteX22" fmla="*/ 1262196 w 5560752"/>
              <a:gd name="connsiteY22" fmla="*/ 3306692 h 6868800"/>
              <a:gd name="connsiteX23" fmla="*/ 0 w 5560752"/>
              <a:gd name="connsiteY23"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2828495 w 5560752"/>
              <a:gd name="connsiteY11" fmla="*/ 2897733 h 6868800"/>
              <a:gd name="connsiteX12" fmla="*/ 2652829 w 5560752"/>
              <a:gd name="connsiteY12" fmla="*/ 3306692 h 6868800"/>
              <a:gd name="connsiteX13" fmla="*/ 2828495 w 5560752"/>
              <a:gd name="connsiteY13" fmla="*/ 2897733 h 6868800"/>
              <a:gd name="connsiteX14" fmla="*/ 0 w 5560752"/>
              <a:gd name="connsiteY14" fmla="*/ 0 h 6868800"/>
              <a:gd name="connsiteX15" fmla="*/ 5560752 w 5560752"/>
              <a:gd name="connsiteY15" fmla="*/ 0 h 6868800"/>
              <a:gd name="connsiteX16" fmla="*/ 5560752 w 5560752"/>
              <a:gd name="connsiteY16" fmla="*/ 6868800 h 6868800"/>
              <a:gd name="connsiteX17" fmla="*/ 2621885 w 5560752"/>
              <a:gd name="connsiteY17" fmla="*/ 6868800 h 6868800"/>
              <a:gd name="connsiteX18" fmla="*/ 2418035 w 5560752"/>
              <a:gd name="connsiteY18" fmla="*/ 6334754 h 6868800"/>
              <a:gd name="connsiteX19" fmla="*/ 2794373 w 5560752"/>
              <a:gd name="connsiteY19" fmla="*/ 2860946 h 6868800"/>
              <a:gd name="connsiteX20" fmla="*/ 2604149 w 5560752"/>
              <a:gd name="connsiteY20" fmla="*/ 3306692 h 6868800"/>
              <a:gd name="connsiteX21" fmla="*/ 1262196 w 5560752"/>
              <a:gd name="connsiteY21" fmla="*/ 3306692 h 6868800"/>
              <a:gd name="connsiteX22" fmla="*/ 0 w 5560752"/>
              <a:gd name="connsiteY22"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2461592 w 5560752"/>
              <a:gd name="connsiteY2" fmla="*/ 5073845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1949917 w 5560752"/>
              <a:gd name="connsiteY2" fmla="*/ 5104493 h 6868800"/>
              <a:gd name="connsiteX3" fmla="*/ 1917376 w 5560752"/>
              <a:gd name="connsiteY3" fmla="*/ 5018866 h 6868800"/>
              <a:gd name="connsiteX4" fmla="*/ 1934805 w 5560752"/>
              <a:gd name="connsiteY4" fmla="*/ 5064727 h 6868800"/>
              <a:gd name="connsiteX5" fmla="*/ 1917376 w 5560752"/>
              <a:gd name="connsiteY5" fmla="*/ 5018866 h 6868800"/>
              <a:gd name="connsiteX6" fmla="*/ 1381398 w 5560752"/>
              <a:gd name="connsiteY6" fmla="*/ 3608540 h 6868800"/>
              <a:gd name="connsiteX7" fmla="*/ 2475335 w 5560752"/>
              <a:gd name="connsiteY7" fmla="*/ 3608540 h 6868800"/>
              <a:gd name="connsiteX8" fmla="*/ 1896695 w 5560752"/>
              <a:gd name="connsiteY8" fmla="*/ 4964449 h 6868800"/>
              <a:gd name="connsiteX9" fmla="*/ 1381398 w 5560752"/>
              <a:gd name="connsiteY9" fmla="*/ 3608540 h 6868800"/>
              <a:gd name="connsiteX10" fmla="*/ 0 w 5560752"/>
              <a:gd name="connsiteY10" fmla="*/ 0 h 6868800"/>
              <a:gd name="connsiteX11" fmla="*/ 5560752 w 5560752"/>
              <a:gd name="connsiteY11" fmla="*/ 0 h 6868800"/>
              <a:gd name="connsiteX12" fmla="*/ 5560752 w 5560752"/>
              <a:gd name="connsiteY12" fmla="*/ 6868800 h 6868800"/>
              <a:gd name="connsiteX13" fmla="*/ 2621885 w 5560752"/>
              <a:gd name="connsiteY13" fmla="*/ 6868800 h 6868800"/>
              <a:gd name="connsiteX14" fmla="*/ 2418035 w 5560752"/>
              <a:gd name="connsiteY14" fmla="*/ 6334754 h 6868800"/>
              <a:gd name="connsiteX15" fmla="*/ 2794373 w 5560752"/>
              <a:gd name="connsiteY15" fmla="*/ 2860946 h 6868800"/>
              <a:gd name="connsiteX16" fmla="*/ 2604149 w 5560752"/>
              <a:gd name="connsiteY16" fmla="*/ 3306692 h 6868800"/>
              <a:gd name="connsiteX17" fmla="*/ 1262196 w 5560752"/>
              <a:gd name="connsiteY17" fmla="*/ 3306692 h 6868800"/>
              <a:gd name="connsiteX18" fmla="*/ 0 w 5560752"/>
              <a:gd name="connsiteY18"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896695 w 5560752"/>
              <a:gd name="connsiteY5" fmla="*/ 4964449 h 6868800"/>
              <a:gd name="connsiteX6" fmla="*/ 1381398 w 5560752"/>
              <a:gd name="connsiteY6" fmla="*/ 3608540 h 6868800"/>
              <a:gd name="connsiteX7" fmla="*/ 0 w 5560752"/>
              <a:gd name="connsiteY7" fmla="*/ 0 h 6868800"/>
              <a:gd name="connsiteX8" fmla="*/ 5560752 w 5560752"/>
              <a:gd name="connsiteY8" fmla="*/ 0 h 6868800"/>
              <a:gd name="connsiteX9" fmla="*/ 5560752 w 5560752"/>
              <a:gd name="connsiteY9" fmla="*/ 6868800 h 6868800"/>
              <a:gd name="connsiteX10" fmla="*/ 2621885 w 5560752"/>
              <a:gd name="connsiteY10" fmla="*/ 6868800 h 6868800"/>
              <a:gd name="connsiteX11" fmla="*/ 2418035 w 5560752"/>
              <a:gd name="connsiteY11" fmla="*/ 6334754 h 6868800"/>
              <a:gd name="connsiteX12" fmla="*/ 2794373 w 5560752"/>
              <a:gd name="connsiteY12" fmla="*/ 2860946 h 6868800"/>
              <a:gd name="connsiteX13" fmla="*/ 2604149 w 5560752"/>
              <a:gd name="connsiteY13" fmla="*/ 3306692 h 6868800"/>
              <a:gd name="connsiteX14" fmla="*/ 1262196 w 5560752"/>
              <a:gd name="connsiteY14" fmla="*/ 3306692 h 6868800"/>
              <a:gd name="connsiteX15" fmla="*/ 0 w 5560752"/>
              <a:gd name="connsiteY15"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381398 w 5560752"/>
              <a:gd name="connsiteY5" fmla="*/ 3608540 h 6868800"/>
              <a:gd name="connsiteX6" fmla="*/ 0 w 5560752"/>
              <a:gd name="connsiteY6" fmla="*/ 0 h 6868800"/>
              <a:gd name="connsiteX7" fmla="*/ 5560752 w 5560752"/>
              <a:gd name="connsiteY7" fmla="*/ 0 h 6868800"/>
              <a:gd name="connsiteX8" fmla="*/ 5560752 w 5560752"/>
              <a:gd name="connsiteY8" fmla="*/ 6868800 h 6868800"/>
              <a:gd name="connsiteX9" fmla="*/ 2621885 w 5560752"/>
              <a:gd name="connsiteY9" fmla="*/ 6868800 h 6868800"/>
              <a:gd name="connsiteX10" fmla="*/ 2418035 w 5560752"/>
              <a:gd name="connsiteY10" fmla="*/ 6334754 h 6868800"/>
              <a:gd name="connsiteX11" fmla="*/ 2794373 w 5560752"/>
              <a:gd name="connsiteY11" fmla="*/ 2860946 h 6868800"/>
              <a:gd name="connsiteX12" fmla="*/ 2604149 w 5560752"/>
              <a:gd name="connsiteY12" fmla="*/ 3306692 h 6868800"/>
              <a:gd name="connsiteX13" fmla="*/ 1262196 w 5560752"/>
              <a:gd name="connsiteY13" fmla="*/ 3306692 h 6868800"/>
              <a:gd name="connsiteX14" fmla="*/ 0 w 5560752"/>
              <a:gd name="connsiteY14" fmla="*/ 0 h 6868800"/>
              <a:gd name="connsiteX0" fmla="*/ 1381398 w 5560752"/>
              <a:gd name="connsiteY0" fmla="*/ 3608540 h 6868800"/>
              <a:gd name="connsiteX1" fmla="*/ 2475335 w 5560752"/>
              <a:gd name="connsiteY1" fmla="*/ 3608540 h 6868800"/>
              <a:gd name="connsiteX2" fmla="*/ 1381398 w 5560752"/>
              <a:gd name="connsiteY2" fmla="*/ 3608540 h 6868800"/>
              <a:gd name="connsiteX3" fmla="*/ 0 w 5560752"/>
              <a:gd name="connsiteY3" fmla="*/ 0 h 6868800"/>
              <a:gd name="connsiteX4" fmla="*/ 5560752 w 5560752"/>
              <a:gd name="connsiteY4" fmla="*/ 0 h 6868800"/>
              <a:gd name="connsiteX5" fmla="*/ 5560752 w 5560752"/>
              <a:gd name="connsiteY5" fmla="*/ 6868800 h 6868800"/>
              <a:gd name="connsiteX6" fmla="*/ 2621885 w 5560752"/>
              <a:gd name="connsiteY6" fmla="*/ 6868800 h 6868800"/>
              <a:gd name="connsiteX7" fmla="*/ 2418035 w 5560752"/>
              <a:gd name="connsiteY7" fmla="*/ 6334754 h 6868800"/>
              <a:gd name="connsiteX8" fmla="*/ 2794373 w 5560752"/>
              <a:gd name="connsiteY8" fmla="*/ 2860946 h 6868800"/>
              <a:gd name="connsiteX9" fmla="*/ 2604149 w 5560752"/>
              <a:gd name="connsiteY9" fmla="*/ 3306692 h 6868800"/>
              <a:gd name="connsiteX10" fmla="*/ 1262196 w 5560752"/>
              <a:gd name="connsiteY10" fmla="*/ 3306692 h 6868800"/>
              <a:gd name="connsiteX11" fmla="*/ 0 w 5560752"/>
              <a:gd name="connsiteY11"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794373 w 5560752"/>
              <a:gd name="connsiteY5" fmla="*/ 2860946 h 6868800"/>
              <a:gd name="connsiteX6" fmla="*/ 2604149 w 5560752"/>
              <a:gd name="connsiteY6" fmla="*/ 3306692 h 6868800"/>
              <a:gd name="connsiteX7" fmla="*/ 1262196 w 5560752"/>
              <a:gd name="connsiteY7" fmla="*/ 3306692 h 6868800"/>
              <a:gd name="connsiteX8" fmla="*/ 0 w 5560752"/>
              <a:gd name="connsiteY8"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604149 w 5560752"/>
              <a:gd name="connsiteY5" fmla="*/ 3306692 h 6868800"/>
              <a:gd name="connsiteX6" fmla="*/ 1262196 w 5560752"/>
              <a:gd name="connsiteY6" fmla="*/ 3306692 h 6868800"/>
              <a:gd name="connsiteX7" fmla="*/ 0 w 5560752"/>
              <a:gd name="connsiteY7"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604149 w 5560752"/>
              <a:gd name="connsiteY4" fmla="*/ 3306692 h 6868800"/>
              <a:gd name="connsiteX5" fmla="*/ 1262196 w 5560752"/>
              <a:gd name="connsiteY5" fmla="*/ 3306692 h 6868800"/>
              <a:gd name="connsiteX6" fmla="*/ 0 w 5560752"/>
              <a:gd name="connsiteY6"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1262196 w 5560752"/>
              <a:gd name="connsiteY4" fmla="*/ 3306692 h 6868800"/>
              <a:gd name="connsiteX5" fmla="*/ 0 w 5560752"/>
              <a:gd name="connsiteY5"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0 w 5560752"/>
              <a:gd name="connsiteY4" fmla="*/ 0 h 6868800"/>
              <a:gd name="connsiteX0" fmla="*/ 1254105 w 6814857"/>
              <a:gd name="connsiteY0" fmla="*/ 0 h 6909943"/>
              <a:gd name="connsiteX1" fmla="*/ 6814857 w 6814857"/>
              <a:gd name="connsiteY1" fmla="*/ 0 h 6909943"/>
              <a:gd name="connsiteX2" fmla="*/ 6814857 w 6814857"/>
              <a:gd name="connsiteY2" fmla="*/ 6868800 h 6909943"/>
              <a:gd name="connsiteX3" fmla="*/ 0 w 6814857"/>
              <a:gd name="connsiteY3" fmla="*/ 6909943 h 6909943"/>
              <a:gd name="connsiteX4" fmla="*/ 1254105 w 6814857"/>
              <a:gd name="connsiteY4" fmla="*/ 0 h 6909943"/>
              <a:gd name="connsiteX0" fmla="*/ 1246535 w 6807287"/>
              <a:gd name="connsiteY0" fmla="*/ 0 h 6868800"/>
              <a:gd name="connsiteX1" fmla="*/ 6807287 w 6807287"/>
              <a:gd name="connsiteY1" fmla="*/ 0 h 6868800"/>
              <a:gd name="connsiteX2" fmla="*/ 6807287 w 6807287"/>
              <a:gd name="connsiteY2" fmla="*/ 6868800 h 6868800"/>
              <a:gd name="connsiteX3" fmla="*/ 0 w 6807287"/>
              <a:gd name="connsiteY3" fmla="*/ 6841371 h 6868800"/>
              <a:gd name="connsiteX4" fmla="*/ 1246535 w 6807287"/>
              <a:gd name="connsiteY4" fmla="*/ 0 h 6868800"/>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105735 w 6807287"/>
              <a:gd name="connsiteY0" fmla="*/ 0 h 6851748"/>
              <a:gd name="connsiteX1" fmla="*/ 6807287 w 6807287"/>
              <a:gd name="connsiteY1" fmla="*/ 10377 h 6851748"/>
              <a:gd name="connsiteX2" fmla="*/ 6792146 w 6807287"/>
              <a:gd name="connsiteY2" fmla="*/ 6824319 h 6851748"/>
              <a:gd name="connsiteX3" fmla="*/ 0 w 6807287"/>
              <a:gd name="connsiteY3" fmla="*/ 6851748 h 6851748"/>
              <a:gd name="connsiteX4" fmla="*/ 1105735 w 6807287"/>
              <a:gd name="connsiteY4" fmla="*/ 0 h 6851748"/>
              <a:gd name="connsiteX0" fmla="*/ 1697095 w 7398647"/>
              <a:gd name="connsiteY0" fmla="*/ 0 h 6841372"/>
              <a:gd name="connsiteX1" fmla="*/ 7398647 w 7398647"/>
              <a:gd name="connsiteY1" fmla="*/ 10377 h 6841372"/>
              <a:gd name="connsiteX2" fmla="*/ 7383506 w 7398647"/>
              <a:gd name="connsiteY2" fmla="*/ 6824319 h 6841372"/>
              <a:gd name="connsiteX3" fmla="*/ 0 w 7398647"/>
              <a:gd name="connsiteY3" fmla="*/ 6841372 h 6841372"/>
              <a:gd name="connsiteX4" fmla="*/ 1697095 w 7398647"/>
              <a:gd name="connsiteY4" fmla="*/ 0 h 6841372"/>
              <a:gd name="connsiteX0" fmla="*/ 1676371 w 7377923"/>
              <a:gd name="connsiteY0" fmla="*/ 0 h 6824319"/>
              <a:gd name="connsiteX1" fmla="*/ 7377923 w 7377923"/>
              <a:gd name="connsiteY1" fmla="*/ 10377 h 6824319"/>
              <a:gd name="connsiteX2" fmla="*/ 7362782 w 7377923"/>
              <a:gd name="connsiteY2" fmla="*/ 6824319 h 6824319"/>
              <a:gd name="connsiteX3" fmla="*/ 0 w 7377923"/>
              <a:gd name="connsiteY3" fmla="*/ 6820161 h 6824319"/>
              <a:gd name="connsiteX4" fmla="*/ 1676371 w 7377923"/>
              <a:gd name="connsiteY4" fmla="*/ 0 h 6824319"/>
              <a:gd name="connsiteX0" fmla="*/ 1674069 w 7377923"/>
              <a:gd name="connsiteY0" fmla="*/ 0 h 6828561"/>
              <a:gd name="connsiteX1" fmla="*/ 7377923 w 7377923"/>
              <a:gd name="connsiteY1" fmla="*/ 14619 h 6828561"/>
              <a:gd name="connsiteX2" fmla="*/ 7362782 w 7377923"/>
              <a:gd name="connsiteY2" fmla="*/ 6828561 h 6828561"/>
              <a:gd name="connsiteX3" fmla="*/ 0 w 7377923"/>
              <a:gd name="connsiteY3" fmla="*/ 6824403 h 6828561"/>
              <a:gd name="connsiteX4" fmla="*/ 1674069 w 7377923"/>
              <a:gd name="connsiteY4" fmla="*/ 0 h 6828561"/>
              <a:gd name="connsiteX0" fmla="*/ 1803605 w 7377923"/>
              <a:gd name="connsiteY0" fmla="*/ 265534 h 6813942"/>
              <a:gd name="connsiteX1" fmla="*/ 7377923 w 7377923"/>
              <a:gd name="connsiteY1" fmla="*/ 0 h 6813942"/>
              <a:gd name="connsiteX2" fmla="*/ 7362782 w 7377923"/>
              <a:gd name="connsiteY2" fmla="*/ 6813942 h 6813942"/>
              <a:gd name="connsiteX3" fmla="*/ 0 w 7377923"/>
              <a:gd name="connsiteY3" fmla="*/ 6809784 h 6813942"/>
              <a:gd name="connsiteX4" fmla="*/ 1803605 w 7377923"/>
              <a:gd name="connsiteY4" fmla="*/ 265534 h 6813942"/>
              <a:gd name="connsiteX0" fmla="*/ 1803605 w 7377923"/>
              <a:gd name="connsiteY0" fmla="*/ 0 h 6548408"/>
              <a:gd name="connsiteX1" fmla="*/ 7377923 w 7377923"/>
              <a:gd name="connsiteY1" fmla="*/ 45746 h 6548408"/>
              <a:gd name="connsiteX2" fmla="*/ 7362782 w 7377923"/>
              <a:gd name="connsiteY2" fmla="*/ 6548408 h 6548408"/>
              <a:gd name="connsiteX3" fmla="*/ 0 w 7377923"/>
              <a:gd name="connsiteY3" fmla="*/ 6544250 h 6548408"/>
              <a:gd name="connsiteX4" fmla="*/ 1803605 w 7377923"/>
              <a:gd name="connsiteY4" fmla="*/ 0 h 6548408"/>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58959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89590 w 7163908"/>
              <a:gd name="connsiteY4" fmla="*/ 37263 h 6623017"/>
              <a:gd name="connsiteX0" fmla="*/ 153327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33270 w 7163908"/>
              <a:gd name="connsiteY4" fmla="*/ 37263 h 6623017"/>
              <a:gd name="connsiteX0" fmla="*/ 1555798 w 7186436"/>
              <a:gd name="connsiteY0" fmla="*/ 37263 h 6623017"/>
              <a:gd name="connsiteX1" fmla="*/ 7186436 w 7186436"/>
              <a:gd name="connsiteY1" fmla="*/ 0 h 6623017"/>
              <a:gd name="connsiteX2" fmla="*/ 7171295 w 7186436"/>
              <a:gd name="connsiteY2" fmla="*/ 6585671 h 6623017"/>
              <a:gd name="connsiteX3" fmla="*/ 0 w 7186436"/>
              <a:gd name="connsiteY3" fmla="*/ 6623017 h 6623017"/>
              <a:gd name="connsiteX4" fmla="*/ 1555798 w 7186436"/>
              <a:gd name="connsiteY4" fmla="*/ 37263 h 6623017"/>
              <a:gd name="connsiteX0" fmla="*/ 1555798 w 7205087"/>
              <a:gd name="connsiteY0" fmla="*/ 37263 h 6623017"/>
              <a:gd name="connsiteX1" fmla="*/ 7186436 w 7205087"/>
              <a:gd name="connsiteY1" fmla="*/ 0 h 6623017"/>
              <a:gd name="connsiteX2" fmla="*/ 7205087 w 7205087"/>
              <a:gd name="connsiteY2" fmla="*/ 6575295 h 6623017"/>
              <a:gd name="connsiteX3" fmla="*/ 0 w 7205087"/>
              <a:gd name="connsiteY3" fmla="*/ 6623017 h 6623017"/>
              <a:gd name="connsiteX4" fmla="*/ 1555798 w 7205087"/>
              <a:gd name="connsiteY4" fmla="*/ 37263 h 6623017"/>
              <a:gd name="connsiteX0" fmla="*/ 1522005 w 7171294"/>
              <a:gd name="connsiteY0" fmla="*/ 37263 h 6623017"/>
              <a:gd name="connsiteX1" fmla="*/ 7152643 w 7171294"/>
              <a:gd name="connsiteY1" fmla="*/ 0 h 6623017"/>
              <a:gd name="connsiteX2" fmla="*/ 7171294 w 7171294"/>
              <a:gd name="connsiteY2" fmla="*/ 6575295 h 6623017"/>
              <a:gd name="connsiteX3" fmla="*/ 0 w 7171294"/>
              <a:gd name="connsiteY3" fmla="*/ 6623017 h 6623017"/>
              <a:gd name="connsiteX4" fmla="*/ 1522005 w 7171294"/>
              <a:gd name="connsiteY4" fmla="*/ 37263 h 6623017"/>
              <a:gd name="connsiteX0" fmla="*/ 1522005 w 7171295"/>
              <a:gd name="connsiteY0" fmla="*/ 3726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37263 h 6627177"/>
              <a:gd name="connsiteX0" fmla="*/ 1522005 w 7171295"/>
              <a:gd name="connsiteY0" fmla="*/ 6441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64413 h 6627177"/>
              <a:gd name="connsiteX0" fmla="*/ 1531216 w 7171295"/>
              <a:gd name="connsiteY0" fmla="*/ 13506 h 6627177"/>
              <a:gd name="connsiteX1" fmla="*/ 7152643 w 7171295"/>
              <a:gd name="connsiteY1" fmla="*/ 0 h 6627177"/>
              <a:gd name="connsiteX2" fmla="*/ 7171295 w 7171295"/>
              <a:gd name="connsiteY2" fmla="*/ 6627177 h 6627177"/>
              <a:gd name="connsiteX3" fmla="*/ 0 w 7171295"/>
              <a:gd name="connsiteY3" fmla="*/ 6623017 h 6627177"/>
              <a:gd name="connsiteX4" fmla="*/ 1531216 w 7171295"/>
              <a:gd name="connsiteY4" fmla="*/ 13506 h 6627177"/>
              <a:gd name="connsiteX0" fmla="*/ 1540427 w 7171295"/>
              <a:gd name="connsiteY0" fmla="*/ 0 h 6630640"/>
              <a:gd name="connsiteX1" fmla="*/ 7152643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40427 w 7171295"/>
              <a:gd name="connsiteY0" fmla="*/ 0 h 6630640"/>
              <a:gd name="connsiteX1" fmla="*/ 7148039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54243 w 7185111"/>
              <a:gd name="connsiteY0" fmla="*/ 0 h 6660418"/>
              <a:gd name="connsiteX1" fmla="*/ 7161855 w 7185111"/>
              <a:gd name="connsiteY1" fmla="*/ 3463 h 6660418"/>
              <a:gd name="connsiteX2" fmla="*/ 7185111 w 7185111"/>
              <a:gd name="connsiteY2" fmla="*/ 6630640 h 6660418"/>
              <a:gd name="connsiteX3" fmla="*/ 0 w 7185111"/>
              <a:gd name="connsiteY3" fmla="*/ 6660418 h 6660418"/>
              <a:gd name="connsiteX4" fmla="*/ 1554243 w 7185111"/>
              <a:gd name="connsiteY4" fmla="*/ 0 h 6660418"/>
              <a:gd name="connsiteX0" fmla="*/ 1545032 w 7175900"/>
              <a:gd name="connsiteY0" fmla="*/ 0 h 6660418"/>
              <a:gd name="connsiteX1" fmla="*/ 7152644 w 7175900"/>
              <a:gd name="connsiteY1" fmla="*/ 3463 h 6660418"/>
              <a:gd name="connsiteX2" fmla="*/ 7175900 w 7175900"/>
              <a:gd name="connsiteY2" fmla="*/ 6630640 h 6660418"/>
              <a:gd name="connsiteX3" fmla="*/ 0 w 7175900"/>
              <a:gd name="connsiteY3" fmla="*/ 6660418 h 6660418"/>
              <a:gd name="connsiteX4" fmla="*/ 1545032 w 7175900"/>
              <a:gd name="connsiteY4" fmla="*/ 0 h 6660418"/>
              <a:gd name="connsiteX0" fmla="*/ 1545032 w 7154465"/>
              <a:gd name="connsiteY0" fmla="*/ 0 h 6673062"/>
              <a:gd name="connsiteX1" fmla="*/ 7152644 w 7154465"/>
              <a:gd name="connsiteY1" fmla="*/ 3463 h 6673062"/>
              <a:gd name="connsiteX2" fmla="*/ 7152874 w 7154465"/>
              <a:gd name="connsiteY2" fmla="*/ 6673062 h 6673062"/>
              <a:gd name="connsiteX3" fmla="*/ 0 w 7154465"/>
              <a:gd name="connsiteY3" fmla="*/ 6660418 h 6673062"/>
              <a:gd name="connsiteX4" fmla="*/ 1545032 w 7154465"/>
              <a:gd name="connsiteY4" fmla="*/ 0 h 6673062"/>
              <a:gd name="connsiteX0" fmla="*/ 1545032 w 7153789"/>
              <a:gd name="connsiteY0" fmla="*/ 0 h 6681546"/>
              <a:gd name="connsiteX1" fmla="*/ 7152644 w 7153789"/>
              <a:gd name="connsiteY1" fmla="*/ 3463 h 6681546"/>
              <a:gd name="connsiteX2" fmla="*/ 7143664 w 7153789"/>
              <a:gd name="connsiteY2" fmla="*/ 6681546 h 6681546"/>
              <a:gd name="connsiteX3" fmla="*/ 0 w 7153789"/>
              <a:gd name="connsiteY3" fmla="*/ 6660418 h 6681546"/>
              <a:gd name="connsiteX4" fmla="*/ 1545032 w 7153789"/>
              <a:gd name="connsiteY4" fmla="*/ 0 h 6681546"/>
              <a:gd name="connsiteX0" fmla="*/ 1549638 w 7158395"/>
              <a:gd name="connsiteY0" fmla="*/ 0 h 6681546"/>
              <a:gd name="connsiteX1" fmla="*/ 7157250 w 7158395"/>
              <a:gd name="connsiteY1" fmla="*/ 3463 h 6681546"/>
              <a:gd name="connsiteX2" fmla="*/ 7148270 w 7158395"/>
              <a:gd name="connsiteY2" fmla="*/ 6681546 h 6681546"/>
              <a:gd name="connsiteX3" fmla="*/ 0 w 7158395"/>
              <a:gd name="connsiteY3" fmla="*/ 6668904 h 6681546"/>
              <a:gd name="connsiteX4" fmla="*/ 1549638 w 7158395"/>
              <a:gd name="connsiteY4" fmla="*/ 0 h 6681546"/>
              <a:gd name="connsiteX0" fmla="*/ 1558849 w 7167606"/>
              <a:gd name="connsiteY0" fmla="*/ 0 h 6681546"/>
              <a:gd name="connsiteX1" fmla="*/ 7166461 w 7167606"/>
              <a:gd name="connsiteY1" fmla="*/ 3463 h 6681546"/>
              <a:gd name="connsiteX2" fmla="*/ 7157481 w 7167606"/>
              <a:gd name="connsiteY2" fmla="*/ 6681546 h 6681546"/>
              <a:gd name="connsiteX3" fmla="*/ 0 w 7167606"/>
              <a:gd name="connsiteY3" fmla="*/ 6677390 h 6681546"/>
              <a:gd name="connsiteX4" fmla="*/ 1558849 w 7167606"/>
              <a:gd name="connsiteY4" fmla="*/ 0 h 6681546"/>
              <a:gd name="connsiteX0" fmla="*/ 1558861 w 7167618"/>
              <a:gd name="connsiteY0" fmla="*/ 0 h 6681546"/>
              <a:gd name="connsiteX1" fmla="*/ 7166473 w 7167618"/>
              <a:gd name="connsiteY1" fmla="*/ 3463 h 6681546"/>
              <a:gd name="connsiteX2" fmla="*/ 7157493 w 7167618"/>
              <a:gd name="connsiteY2" fmla="*/ 6681546 h 6681546"/>
              <a:gd name="connsiteX3" fmla="*/ 12 w 7167618"/>
              <a:gd name="connsiteY3" fmla="*/ 6677390 h 6681546"/>
              <a:gd name="connsiteX4" fmla="*/ 1558861 w 7167618"/>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8861 w 7167212"/>
              <a:gd name="connsiteY4" fmla="*/ 5 h 6681551"/>
              <a:gd name="connsiteX0" fmla="*/ 1554256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4256 w 7167212"/>
              <a:gd name="connsiteY4" fmla="*/ 5 h 6681551"/>
              <a:gd name="connsiteX0" fmla="*/ 1549650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49650 w 7167212"/>
              <a:gd name="connsiteY4" fmla="*/ 5 h 6681551"/>
              <a:gd name="connsiteX0" fmla="*/ 1391955 w 7167212"/>
              <a:gd name="connsiteY0" fmla="*/ 7014 h 6678184"/>
              <a:gd name="connsiteX1" fmla="*/ 7166473 w 7167212"/>
              <a:gd name="connsiteY1" fmla="*/ 101 h 6678184"/>
              <a:gd name="connsiteX2" fmla="*/ 7143678 w 7167212"/>
              <a:gd name="connsiteY2" fmla="*/ 6678184 h 6678184"/>
              <a:gd name="connsiteX3" fmla="*/ 12 w 7167212"/>
              <a:gd name="connsiteY3" fmla="*/ 6674028 h 6678184"/>
              <a:gd name="connsiteX4" fmla="*/ 1391955 w 7167212"/>
              <a:gd name="connsiteY4" fmla="*/ 7014 h 6678184"/>
              <a:gd name="connsiteX0" fmla="*/ 1437012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37012 w 7212269"/>
              <a:gd name="connsiteY4" fmla="*/ 7014 h 6678184"/>
              <a:gd name="connsiteX0" fmla="*/ 1458504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58504 w 7212269"/>
              <a:gd name="connsiteY4" fmla="*/ 7014 h 6678184"/>
              <a:gd name="connsiteX0" fmla="*/ 1446224 w 7199989"/>
              <a:gd name="connsiteY0" fmla="*/ 7014 h 6678184"/>
              <a:gd name="connsiteX1" fmla="*/ 7199250 w 7199989"/>
              <a:gd name="connsiteY1" fmla="*/ 101 h 6678184"/>
              <a:gd name="connsiteX2" fmla="*/ 7176455 w 7199989"/>
              <a:gd name="connsiteY2" fmla="*/ 6678184 h 6678184"/>
              <a:gd name="connsiteX3" fmla="*/ 13 w 7199989"/>
              <a:gd name="connsiteY3" fmla="*/ 6674028 h 6678184"/>
              <a:gd name="connsiteX4" fmla="*/ 1446224 w 7199989"/>
              <a:gd name="connsiteY4" fmla="*/ 7014 h 6678184"/>
              <a:gd name="connsiteX0" fmla="*/ 1446247 w 7200012"/>
              <a:gd name="connsiteY0" fmla="*/ 7014 h 6678184"/>
              <a:gd name="connsiteX1" fmla="*/ 7199273 w 7200012"/>
              <a:gd name="connsiteY1" fmla="*/ 101 h 6678184"/>
              <a:gd name="connsiteX2" fmla="*/ 7176478 w 7200012"/>
              <a:gd name="connsiteY2" fmla="*/ 6678184 h 6678184"/>
              <a:gd name="connsiteX3" fmla="*/ 36 w 7200012"/>
              <a:gd name="connsiteY3" fmla="*/ 6674028 h 6678184"/>
              <a:gd name="connsiteX4" fmla="*/ 1446247 w 7200012"/>
              <a:gd name="connsiteY4" fmla="*/ 7014 h 6678184"/>
              <a:gd name="connsiteX0" fmla="*/ 1496934 w 7250699"/>
              <a:gd name="connsiteY0" fmla="*/ 7014 h 6678184"/>
              <a:gd name="connsiteX1" fmla="*/ 7249960 w 7250699"/>
              <a:gd name="connsiteY1" fmla="*/ 101 h 6678184"/>
              <a:gd name="connsiteX2" fmla="*/ 7227165 w 7250699"/>
              <a:gd name="connsiteY2" fmla="*/ 6678184 h 6678184"/>
              <a:gd name="connsiteX3" fmla="*/ 35 w 7250699"/>
              <a:gd name="connsiteY3" fmla="*/ 6674028 h 6678184"/>
              <a:gd name="connsiteX4" fmla="*/ 1496934 w 7250699"/>
              <a:gd name="connsiteY4" fmla="*/ 7014 h 6678184"/>
              <a:gd name="connsiteX0" fmla="*/ 1480039 w 7250699"/>
              <a:gd name="connsiteY0" fmla="*/ 3 h 6681549"/>
              <a:gd name="connsiteX1" fmla="*/ 7249960 w 7250699"/>
              <a:gd name="connsiteY1" fmla="*/ 3466 h 6681549"/>
              <a:gd name="connsiteX2" fmla="*/ 7227165 w 7250699"/>
              <a:gd name="connsiteY2" fmla="*/ 6681549 h 6681549"/>
              <a:gd name="connsiteX3" fmla="*/ 35 w 7250699"/>
              <a:gd name="connsiteY3" fmla="*/ 6677393 h 6681549"/>
              <a:gd name="connsiteX4" fmla="*/ 1480039 w 7250699"/>
              <a:gd name="connsiteY4" fmla="*/ 3 h 6681549"/>
              <a:gd name="connsiteX0" fmla="*/ 1451881 w 7222541"/>
              <a:gd name="connsiteY0" fmla="*/ 3 h 6681549"/>
              <a:gd name="connsiteX1" fmla="*/ 7221802 w 7222541"/>
              <a:gd name="connsiteY1" fmla="*/ 3466 h 6681549"/>
              <a:gd name="connsiteX2" fmla="*/ 7199007 w 7222541"/>
              <a:gd name="connsiteY2" fmla="*/ 6681549 h 6681549"/>
              <a:gd name="connsiteX3" fmla="*/ 37 w 7222541"/>
              <a:gd name="connsiteY3" fmla="*/ 6667015 h 6681549"/>
              <a:gd name="connsiteX4" fmla="*/ 1451881 w 7222541"/>
              <a:gd name="connsiteY4" fmla="*/ 3 h 6681549"/>
              <a:gd name="connsiteX0" fmla="*/ 23061 w 5793721"/>
              <a:gd name="connsiteY0" fmla="*/ 3 h 6684096"/>
              <a:gd name="connsiteX1" fmla="*/ 5792982 w 5793721"/>
              <a:gd name="connsiteY1" fmla="*/ 3466 h 6684096"/>
              <a:gd name="connsiteX2" fmla="*/ 5770187 w 5793721"/>
              <a:gd name="connsiteY2" fmla="*/ 6681549 h 6684096"/>
              <a:gd name="connsiteX3" fmla="*/ 1308 w 5793721"/>
              <a:gd name="connsiteY3" fmla="*/ 6681418 h 6684096"/>
              <a:gd name="connsiteX4" fmla="*/ 23061 w 5793721"/>
              <a:gd name="connsiteY4" fmla="*/ 3 h 6684096"/>
              <a:gd name="connsiteX0" fmla="*/ 23061 w 5792997"/>
              <a:gd name="connsiteY0" fmla="*/ 3 h 6695951"/>
              <a:gd name="connsiteX1" fmla="*/ 5792982 w 5792997"/>
              <a:gd name="connsiteY1" fmla="*/ 3466 h 6695951"/>
              <a:gd name="connsiteX2" fmla="*/ 3768058 w 5792997"/>
              <a:gd name="connsiteY2" fmla="*/ 6695951 h 6695951"/>
              <a:gd name="connsiteX3" fmla="*/ 1308 w 5792997"/>
              <a:gd name="connsiteY3" fmla="*/ 6681418 h 6695951"/>
              <a:gd name="connsiteX4" fmla="*/ 23061 w 5792997"/>
              <a:gd name="connsiteY4" fmla="*/ 3 h 6695951"/>
              <a:gd name="connsiteX0" fmla="*/ 23061 w 5792981"/>
              <a:gd name="connsiteY0" fmla="*/ 3 h 6695951"/>
              <a:gd name="connsiteX1" fmla="*/ 5792982 w 5792981"/>
              <a:gd name="connsiteY1" fmla="*/ 3466 h 6695951"/>
              <a:gd name="connsiteX2" fmla="*/ 3768058 w 5792981"/>
              <a:gd name="connsiteY2" fmla="*/ 6695951 h 6695951"/>
              <a:gd name="connsiteX3" fmla="*/ 1308 w 5792981"/>
              <a:gd name="connsiteY3" fmla="*/ 6681418 h 6695951"/>
              <a:gd name="connsiteX4" fmla="*/ 23061 w 5792981"/>
              <a:gd name="connsiteY4" fmla="*/ 3 h 6695951"/>
              <a:gd name="connsiteX0" fmla="*/ 23061 w 5792983"/>
              <a:gd name="connsiteY0" fmla="*/ 3 h 6695951"/>
              <a:gd name="connsiteX1" fmla="*/ 5792982 w 5792983"/>
              <a:gd name="connsiteY1" fmla="*/ 3466 h 6695951"/>
              <a:gd name="connsiteX2" fmla="*/ 3716984 w 5792983"/>
              <a:gd name="connsiteY2" fmla="*/ 6695951 h 6695951"/>
              <a:gd name="connsiteX3" fmla="*/ 1308 w 5792983"/>
              <a:gd name="connsiteY3" fmla="*/ 6681418 h 6695951"/>
              <a:gd name="connsiteX4" fmla="*/ 23061 w 5792983"/>
              <a:gd name="connsiteY4" fmla="*/ 3 h 6695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2983" h="6695951">
                <a:moveTo>
                  <a:pt x="23061" y="3"/>
                </a:moveTo>
                <a:cubicBezTo>
                  <a:pt x="17893" y="1157"/>
                  <a:pt x="3923778" y="2312"/>
                  <a:pt x="5792982" y="3466"/>
                </a:cubicBezTo>
                <a:lnTo>
                  <a:pt x="3716984" y="6695951"/>
                </a:lnTo>
                <a:cubicBezTo>
                  <a:pt x="3716453" y="6691380"/>
                  <a:pt x="-9679" y="6689244"/>
                  <a:pt x="1308" y="6681418"/>
                </a:cubicBezTo>
                <a:cubicBezTo>
                  <a:pt x="-7155" y="6701196"/>
                  <a:pt x="28454" y="-5634"/>
                  <a:pt x="23061" y="3"/>
                </a:cubicBezTo>
                <a:close/>
              </a:path>
            </a:pathLst>
          </a:custGeom>
        </p:spPr>
        <p:txBody>
          <a:bodyPr tIns="1188000" anchor="t" anchorCtr="0">
            <a:normAutofit/>
          </a:bodyPr>
          <a:lstStyle>
            <a:lvl1pPr marL="0" indent="0" algn="ctr">
              <a:buNone/>
              <a:defRPr sz="833">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0" name="Text Placeholder 9"/>
          <p:cNvSpPr>
            <a:spLocks noGrp="1"/>
          </p:cNvSpPr>
          <p:nvPr>
            <p:ph type="body" sz="quarter" idx="15"/>
          </p:nvPr>
        </p:nvSpPr>
        <p:spPr>
          <a:xfrm>
            <a:off x="2726923" y="1791597"/>
            <a:ext cx="3888432" cy="6716843"/>
          </a:xfrm>
        </p:spPr>
        <p:txBody>
          <a:bodyPr>
            <a:normAutofit/>
          </a:bodyPr>
          <a:lstStyle>
            <a:lvl1pPr marL="0" indent="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9005" indent="-187665">
              <a:defRPr sz="1042"/>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p:cNvSpPr>
            <a:spLocks noGrp="1"/>
          </p:cNvSpPr>
          <p:nvPr>
            <p:ph type="sldNum" sz="quarter" idx="16"/>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1908089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76946" y="4025909"/>
            <a:ext cx="6102678" cy="1076408"/>
          </a:xfrm>
          <a:prstGeom prst="rect">
            <a:avLst/>
          </a:prstGeom>
        </p:spPr>
        <p:txBody>
          <a:bodyPr vert="horz" lIns="0" tIns="0" rIns="0" bIns="0" rtlCol="0" anchor="ctr" anchorCtr="0">
            <a:normAutofit/>
          </a:bodyPr>
          <a:lstStyle>
            <a:lvl1pPr algn="ctr" rtl="0">
              <a:defRPr b="1">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751643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326309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93066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
        <p:nvSpPr>
          <p:cNvPr id="7" name="TextBox 6"/>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2795279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03095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6" name="Slide Number Placeholder 1"/>
          <p:cNvSpPr>
            <a:spLocks noGrp="1"/>
          </p:cNvSpPr>
          <p:nvPr>
            <p:ph type="sldNum" sz="quarter" idx="10"/>
          </p:nvPr>
        </p:nvSpPr>
        <p:spPr>
          <a:xfrm>
            <a:off x="5481228" y="8700464"/>
            <a:ext cx="1134126" cy="261509"/>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3916626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2">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60202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2">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6" y="1128185"/>
            <a:ext cx="3131864" cy="6996211"/>
          </a:xfrm>
        </p:spPr>
        <p:txBody>
          <a:bodyPr anchor="ctr"/>
          <a:lstStyle>
            <a:lvl1pPr>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3104671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2">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132000"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
        <p:nvSpPr>
          <p:cNvPr id="7" name="TextBox 6"/>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2948488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0" y="1128185"/>
            <a:ext cx="3887948"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1"/>
            <a:ext cx="4239090" cy="8051371"/>
          </a:xfrm>
          <a:prstGeom prst="rect">
            <a:avLst/>
          </a:prstGeom>
        </p:spPr>
      </p:pic>
      <p:sp>
        <p:nvSpPr>
          <p:cNvPr id="6" name="Slide Number Placeholder 1"/>
          <p:cNvSpPr>
            <a:spLocks noGrp="1"/>
          </p:cNvSpPr>
          <p:nvPr>
            <p:ph type="sldNum" sz="quarter" idx="10"/>
          </p:nvPr>
        </p:nvSpPr>
        <p:spPr>
          <a:xfrm>
            <a:off x="5481228" y="8700459"/>
            <a:ext cx="1134126"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65173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2">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69371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2">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Slide Number Placeholder 1"/>
          <p:cNvSpPr>
            <a:spLocks noGrp="1"/>
          </p:cNvSpPr>
          <p:nvPr>
            <p:ph type="sldNum" sz="quarter" idx="10"/>
          </p:nvPr>
        </p:nvSpPr>
        <p:spPr>
          <a:xfrm>
            <a:off x="5481228" y="8700464"/>
            <a:ext cx="1134126" cy="261509"/>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4083472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1">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9" name="Picture Placeholder 18"/>
          <p:cNvSpPr>
            <a:spLocks noGrp="1"/>
          </p:cNvSpPr>
          <p:nvPr>
            <p:ph type="pic" sz="quarter" idx="14"/>
          </p:nvPr>
        </p:nvSpPr>
        <p:spPr>
          <a:xfrm>
            <a:off x="242647" y="461902"/>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08073" y="750861"/>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08080" y="15331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8037" y="1710973"/>
            <a:ext cx="2430308" cy="1824203"/>
          </a:xfrm>
        </p:spPr>
        <p:txBody>
          <a:bodyPr>
            <a:noAutofit/>
          </a:bodyPr>
          <a:lstStyle>
            <a:lvl1pPr marL="0" indent="0" rtl="0">
              <a:spcAft>
                <a:spcPts val="0"/>
              </a:spcAft>
              <a:buFont typeface="Arial" panose="020B0604020202020204" pitchFamily="34" charset="0"/>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337299" indent="-148808">
              <a:spcAft>
                <a:spcPts val="0"/>
              </a:spcAft>
              <a:buFont typeface="Arial" panose="020B0604020202020204" pitchFamily="34" charset="0"/>
              <a:buChar char="•"/>
              <a:defRPr sz="729">
                <a:solidFill>
                  <a:schemeClr val="bg1"/>
                </a:solidFill>
              </a:defRPr>
            </a:lvl2pPr>
            <a:lvl3pPr marL="483629" indent="-148808">
              <a:spcAft>
                <a:spcPts val="0"/>
              </a:spcAft>
              <a:buFont typeface="Arial" panose="020B0604020202020204" pitchFamily="34" charset="0"/>
              <a:buChar char="•"/>
              <a:defRPr sz="729">
                <a:solidFill>
                  <a:schemeClr val="bg1"/>
                </a:solidFill>
              </a:defRPr>
            </a:lvl3pPr>
            <a:lvl4pPr marL="619211" indent="-148808">
              <a:spcAft>
                <a:spcPts val="0"/>
              </a:spcAft>
              <a:buFont typeface="Arial" panose="020B0604020202020204" pitchFamily="34" charset="0"/>
              <a:buChar char="•"/>
              <a:defRPr sz="729">
                <a:solidFill>
                  <a:schemeClr val="bg1"/>
                </a:solidFill>
              </a:defRPr>
            </a:lvl4pPr>
            <a:lvl5pPr marL="760578" indent="-148808">
              <a:spcAft>
                <a:spcPts val="0"/>
              </a:spcAft>
              <a:buFont typeface="Arial" panose="020B0604020202020204" pitchFamily="34" charset="0"/>
              <a:buChar char="•"/>
              <a:defRPr sz="729">
                <a:solidFill>
                  <a:schemeClr val="bg1"/>
                </a:solidFill>
              </a:defRPr>
            </a:lvl5pPr>
          </a:lstStyle>
          <a:p>
            <a:pPr lvl="0"/>
            <a:r>
              <a:rPr lang="en-US"/>
              <a:t>Click to edit Master text styles</a:t>
            </a:r>
          </a:p>
        </p:txBody>
      </p:sp>
      <p:sp>
        <p:nvSpPr>
          <p:cNvPr id="10" name="TextBox 9"/>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103762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2">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a:off x="296653" y="5436101"/>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62080" y="5723245"/>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62083" y="6492213"/>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62043" y="6683349"/>
            <a:ext cx="2430308" cy="1824203"/>
          </a:xfrm>
        </p:spPr>
        <p:txBody>
          <a:bodyPr>
            <a:noAutofit/>
          </a:bodyPr>
          <a:lstStyle>
            <a:lvl1pPr marL="0" indent="0" rtl="0">
              <a:spcAft>
                <a:spcPts val="0"/>
              </a:spcAft>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702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3">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a:off x="3126430" y="443549"/>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ctr">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3707123" y="635573"/>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07144" y="14045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23067" y="1595677"/>
            <a:ext cx="2430308" cy="1824203"/>
          </a:xfrm>
        </p:spPr>
        <p:txBody>
          <a:bodyPr>
            <a:noAutofit/>
          </a:bodyPr>
          <a:lstStyle>
            <a:lvl1pPr marL="0" indent="0" rtl="0">
              <a:spcAft>
                <a:spcPts val="0"/>
              </a:spcAft>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8708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4">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flipV="1">
            <a:off x="3122230" y="5506157"/>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l" rtl="0">
              <a:buNone/>
              <a:defRPr sz="10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2" name="Title 1"/>
          <p:cNvSpPr>
            <a:spLocks noGrp="1"/>
          </p:cNvSpPr>
          <p:nvPr>
            <p:ph type="title"/>
          </p:nvPr>
        </p:nvSpPr>
        <p:spPr>
          <a:xfrm>
            <a:off x="3957641" y="5698173"/>
            <a:ext cx="2661609"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48836" y="6467149"/>
            <a:ext cx="2920524"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18867" y="6658285"/>
            <a:ext cx="2430308" cy="1824203"/>
          </a:xfrm>
        </p:spPr>
        <p:txBody>
          <a:bodyPr>
            <a:noAutofit/>
          </a:bodyPr>
          <a:lstStyle>
            <a:lvl1pPr marL="0" indent="0">
              <a:spcAft>
                <a:spcPts val="0"/>
              </a:spcAft>
              <a:buNone/>
              <a:defRPr sz="729">
                <a:solidFill>
                  <a:schemeClr val="bg1"/>
                </a:solidFill>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5370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Advisian Title &amp; Contents">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lvl1pPr>
              <a:defRPr sz="1500">
                <a:solidFill>
                  <a:srgbClr val="85714D"/>
                </a:solidFill>
              </a:defRPr>
            </a:lvl1pPr>
          </a:lstStyle>
          <a:p>
            <a:r>
              <a:rPr lang="en-US" dirty="0"/>
              <a:t>Click to edit Master title style</a:t>
            </a:r>
            <a:endParaRPr lang="en-AU" dirty="0"/>
          </a:p>
        </p:txBody>
      </p:sp>
      <p:sp>
        <p:nvSpPr>
          <p:cNvPr id="8" name="Content Placeholder 7"/>
          <p:cNvSpPr>
            <a:spLocks noGrp="1"/>
          </p:cNvSpPr>
          <p:nvPr>
            <p:ph sz="quarter" idx="13"/>
          </p:nvPr>
        </p:nvSpPr>
        <p:spPr>
          <a:xfrm>
            <a:off x="350661" y="1689600"/>
            <a:ext cx="6318703" cy="6528000"/>
          </a:xfrm>
        </p:spPr>
        <p:txBody>
          <a:bodyPr/>
          <a:lstStyle>
            <a:lvl1pPr>
              <a:buClr>
                <a:srgbClr val="85714D"/>
              </a:buClr>
              <a:defRPr/>
            </a:lvl1pPr>
            <a:lvl2pPr>
              <a:buClr>
                <a:srgbClr val="85714D"/>
              </a:buClr>
              <a:defRPr/>
            </a:lvl2pPr>
            <a:lvl3pPr>
              <a:buClr>
                <a:srgbClr val="85714D"/>
              </a:buClr>
              <a:defRPr/>
            </a:lvl3pPr>
            <a:lvl4pPr>
              <a:buClr>
                <a:srgbClr val="85714D"/>
              </a:buClr>
              <a:defRPr/>
            </a:lvl4pPr>
            <a:lvl5pPr>
              <a:buClr>
                <a:srgbClr val="85714D"/>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Slide Number Placeholder 8"/>
          <p:cNvSpPr>
            <a:spLocks noGrp="1"/>
          </p:cNvSpPr>
          <p:nvPr>
            <p:ph type="sldNum" sz="quarter" idx="17"/>
          </p:nvPr>
        </p:nvSpPr>
        <p:spPr/>
        <p:txBody>
          <a:bodyPr/>
          <a:lstStyle/>
          <a:p>
            <a:r>
              <a:rPr lang="en-AU" dirty="0">
                <a:solidFill>
                  <a:srgbClr val="FFFFFF">
                    <a:lumMod val="50000"/>
                  </a:srgbClr>
                </a:solidFill>
              </a:rPr>
              <a:t> Offshore Mining and Civil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36197626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2">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Title 5"/>
          <p:cNvSpPr>
            <a:spLocks noGrp="1"/>
          </p:cNvSpPr>
          <p:nvPr>
            <p:ph type="title"/>
          </p:nvPr>
        </p:nvSpPr>
        <p:spPr>
          <a:xfrm>
            <a:off x="513160"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342039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2">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131864" cy="6996211"/>
          </a:xfrm>
        </p:spPr>
        <p:txBody>
          <a:bodyPr anchor="ctr"/>
          <a:lstStyle>
            <a:lvl1pPr>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389390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2">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132000"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
        <p:nvSpPr>
          <p:cNvPr id="7" name="TextBox 6"/>
          <p:cNvSpPr txBox="1"/>
          <p:nvPr userDrawn="1"/>
        </p:nvSpPr>
        <p:spPr>
          <a:xfrm>
            <a:off x="6939441" y="2"/>
            <a:ext cx="2090261" cy="698333"/>
          </a:xfrm>
          <a:prstGeom prst="rect">
            <a:avLst/>
          </a:prstGeom>
          <a:solidFill>
            <a:schemeClr val="accent2"/>
          </a:solidFill>
        </p:spPr>
        <p:txBody>
          <a:bodyPr wrap="square" rtlCol="0">
            <a:spAutoFit/>
          </a:bodyPr>
          <a:lstStyle/>
          <a:p>
            <a:r>
              <a:rPr lang="en-AU" sz="900" b="1" dirty="0">
                <a:solidFill>
                  <a:schemeClr val="bg1"/>
                </a:solidFill>
                <a:latin typeface="+mn-lt"/>
              </a:rPr>
              <a:t>TIP! </a:t>
            </a:r>
          </a:p>
          <a:p>
            <a:endParaRPr lang="en-AU" sz="788" b="1" dirty="0">
              <a:solidFill>
                <a:schemeClr val="bg1"/>
              </a:solidFill>
              <a:latin typeface="+mn-lt"/>
            </a:endParaRPr>
          </a:p>
          <a:p>
            <a:r>
              <a:rPr lang="en-AU" sz="750" b="1" dirty="0">
                <a:solidFill>
                  <a:srgbClr val="00AEEF"/>
                </a:solidFill>
                <a:latin typeface="+mn-lt"/>
              </a:rPr>
              <a:t>RIGHT CLICK </a:t>
            </a:r>
            <a:r>
              <a:rPr lang="en-AU" sz="750" dirty="0">
                <a:solidFill>
                  <a:schemeClr val="bg1"/>
                </a:solidFill>
                <a:latin typeface="+mn-lt"/>
              </a:rPr>
              <a:t>on the preview slide on</a:t>
            </a:r>
            <a:r>
              <a:rPr lang="en-AU" sz="750" baseline="0" dirty="0">
                <a:solidFill>
                  <a:schemeClr val="bg1"/>
                </a:solidFill>
                <a:latin typeface="+mn-lt"/>
              </a:rPr>
              <a:t> the left hand side of your screen, and go to </a:t>
            </a:r>
            <a:r>
              <a:rPr lang="en-AU" sz="750" b="1" baseline="0" dirty="0">
                <a:solidFill>
                  <a:srgbClr val="00AEEF"/>
                </a:solidFill>
                <a:latin typeface="+mn-lt"/>
              </a:rPr>
              <a:t>LAYOUT</a:t>
            </a:r>
            <a:r>
              <a:rPr lang="en-AU" sz="750" baseline="0" dirty="0">
                <a:solidFill>
                  <a:schemeClr val="bg1"/>
                </a:solidFill>
                <a:latin typeface="+mn-lt"/>
              </a:rPr>
              <a:t> to reveal more colour options and layouts. </a:t>
            </a:r>
            <a:endParaRPr lang="en-AU" sz="750" kern="1200" dirty="0">
              <a:solidFill>
                <a:schemeClr val="bg1"/>
              </a:solidFill>
              <a:latin typeface="+mn-lt"/>
              <a:ea typeface="+mn-ea"/>
              <a:cs typeface="+mn-cs"/>
            </a:endParaRPr>
          </a:p>
        </p:txBody>
      </p:sp>
    </p:spTree>
    <p:extLst>
      <p:ext uri="{BB962C8B-B14F-4D97-AF65-F5344CB8AC3E}">
        <p14:creationId xmlns:p14="http://schemas.microsoft.com/office/powerpoint/2010/main" val="294960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2">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544751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2">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0"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Slide Number Placeholder 1"/>
          <p:cNvSpPr>
            <a:spLocks noGrp="1"/>
          </p:cNvSpPr>
          <p:nvPr>
            <p:ph type="sldNum" sz="quarter" idx="10"/>
          </p:nvPr>
        </p:nvSpPr>
        <p:spPr>
          <a:xfrm>
            <a:off x="5481228" y="8700459"/>
            <a:ext cx="1134126"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55395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1">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1200"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9" name="Picture Placeholder 18"/>
          <p:cNvSpPr>
            <a:spLocks noGrp="1"/>
          </p:cNvSpPr>
          <p:nvPr>
            <p:ph type="pic" sz="quarter" idx="14"/>
          </p:nvPr>
        </p:nvSpPr>
        <p:spPr>
          <a:xfrm>
            <a:off x="242647" y="461902"/>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08073" y="750857"/>
            <a:ext cx="2916324" cy="672075"/>
          </a:xfrm>
        </p:spPr>
        <p:txBody>
          <a:bodyPr>
            <a:noAutofit/>
          </a:bodyPr>
          <a:lstStyle>
            <a:lvl1pPr rtl="0">
              <a:defRPr sz="1500"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08075" y="15331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8037" y="1710965"/>
            <a:ext cx="2430308" cy="1824203"/>
          </a:xfrm>
        </p:spPr>
        <p:txBody>
          <a:bodyPr>
            <a:noAutofit/>
          </a:bodyPr>
          <a:lstStyle>
            <a:lvl1pPr marL="0" indent="0" rtl="0">
              <a:spcAft>
                <a:spcPts val="0"/>
              </a:spcAft>
              <a:buFont typeface="Arial" panose="020B0604020202020204" pitchFamily="34" charset="0"/>
              <a:buNone/>
              <a:defRPr sz="105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485751" indent="-214303">
              <a:spcAft>
                <a:spcPts val="0"/>
              </a:spcAft>
              <a:buFont typeface="Arial" panose="020B0604020202020204" pitchFamily="34" charset="0"/>
              <a:buChar char="•"/>
              <a:defRPr sz="1050">
                <a:solidFill>
                  <a:schemeClr val="bg1"/>
                </a:solidFill>
              </a:defRPr>
            </a:lvl2pPr>
            <a:lvl3pPr marL="696480" indent="-214303">
              <a:spcAft>
                <a:spcPts val="0"/>
              </a:spcAft>
              <a:buFont typeface="Arial" panose="020B0604020202020204" pitchFamily="34" charset="0"/>
              <a:buChar char="•"/>
              <a:defRPr sz="1050">
                <a:solidFill>
                  <a:schemeClr val="bg1"/>
                </a:solidFill>
              </a:defRPr>
            </a:lvl3pPr>
            <a:lvl4pPr marL="891734" indent="-214303">
              <a:spcAft>
                <a:spcPts val="0"/>
              </a:spcAft>
              <a:buFont typeface="Arial" panose="020B0604020202020204" pitchFamily="34" charset="0"/>
              <a:buChar char="•"/>
              <a:defRPr sz="1050">
                <a:solidFill>
                  <a:schemeClr val="bg1"/>
                </a:solidFill>
              </a:defRPr>
            </a:lvl4pPr>
            <a:lvl5pPr marL="1095320" indent="-214303">
              <a:spcAft>
                <a:spcPts val="0"/>
              </a:spcAft>
              <a:buFont typeface="Arial" panose="020B0604020202020204" pitchFamily="34" charset="0"/>
              <a:buChar char="•"/>
              <a:defRPr sz="1050">
                <a:solidFill>
                  <a:schemeClr val="bg1"/>
                </a:solidFill>
              </a:defRPr>
            </a:lvl5pPr>
          </a:lstStyle>
          <a:p>
            <a:pPr lvl="0"/>
            <a:r>
              <a:rPr lang="en-US"/>
              <a:t>Click to edit Master text styles</a:t>
            </a:r>
          </a:p>
        </p:txBody>
      </p:sp>
      <p:sp>
        <p:nvSpPr>
          <p:cNvPr id="10" name="TextBox 9"/>
          <p:cNvSpPr txBox="1"/>
          <p:nvPr userDrawn="1"/>
        </p:nvSpPr>
        <p:spPr>
          <a:xfrm>
            <a:off x="6939441" y="2"/>
            <a:ext cx="2090261" cy="698333"/>
          </a:xfrm>
          <a:prstGeom prst="rect">
            <a:avLst/>
          </a:prstGeom>
          <a:solidFill>
            <a:schemeClr val="accent2"/>
          </a:solidFill>
        </p:spPr>
        <p:txBody>
          <a:bodyPr wrap="square" rtlCol="0">
            <a:spAutoFit/>
          </a:bodyPr>
          <a:lstStyle/>
          <a:p>
            <a:r>
              <a:rPr lang="en-AU" sz="900" b="1" dirty="0">
                <a:solidFill>
                  <a:schemeClr val="bg1"/>
                </a:solidFill>
                <a:latin typeface="+mn-lt"/>
              </a:rPr>
              <a:t>TIP! </a:t>
            </a:r>
          </a:p>
          <a:p>
            <a:endParaRPr lang="en-AU" sz="788" b="1" dirty="0">
              <a:solidFill>
                <a:schemeClr val="bg1"/>
              </a:solidFill>
              <a:latin typeface="+mn-lt"/>
            </a:endParaRPr>
          </a:p>
          <a:p>
            <a:r>
              <a:rPr lang="en-AU" sz="750" b="1" dirty="0">
                <a:solidFill>
                  <a:srgbClr val="00AEEF"/>
                </a:solidFill>
                <a:latin typeface="+mn-lt"/>
              </a:rPr>
              <a:t>RIGHT CLICK </a:t>
            </a:r>
            <a:r>
              <a:rPr lang="en-AU" sz="750" dirty="0">
                <a:solidFill>
                  <a:schemeClr val="bg1"/>
                </a:solidFill>
                <a:latin typeface="+mn-lt"/>
              </a:rPr>
              <a:t>on the preview slide on</a:t>
            </a:r>
            <a:r>
              <a:rPr lang="en-AU" sz="750" baseline="0" dirty="0">
                <a:solidFill>
                  <a:schemeClr val="bg1"/>
                </a:solidFill>
                <a:latin typeface="+mn-lt"/>
              </a:rPr>
              <a:t> the left hand side of your screen, and go to </a:t>
            </a:r>
            <a:r>
              <a:rPr lang="en-AU" sz="750" b="1" baseline="0" dirty="0">
                <a:solidFill>
                  <a:srgbClr val="00AEEF"/>
                </a:solidFill>
                <a:latin typeface="+mn-lt"/>
              </a:rPr>
              <a:t>LAYOUT</a:t>
            </a:r>
            <a:r>
              <a:rPr lang="en-AU" sz="750" baseline="0" dirty="0">
                <a:solidFill>
                  <a:schemeClr val="bg1"/>
                </a:solidFill>
                <a:latin typeface="+mn-lt"/>
              </a:rPr>
              <a:t> to reveal more colour options and layouts. </a:t>
            </a:r>
            <a:endParaRPr lang="en-AU" sz="750" kern="1200" dirty="0">
              <a:solidFill>
                <a:schemeClr val="bg1"/>
              </a:solidFill>
              <a:latin typeface="+mn-lt"/>
              <a:ea typeface="+mn-ea"/>
              <a:cs typeface="+mn-cs"/>
            </a:endParaRPr>
          </a:p>
        </p:txBody>
      </p:sp>
    </p:spTree>
    <p:extLst>
      <p:ext uri="{BB962C8B-B14F-4D97-AF65-F5344CB8AC3E}">
        <p14:creationId xmlns:p14="http://schemas.microsoft.com/office/powerpoint/2010/main" val="2700706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Advisian title &amp; text 2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06986307"/>
              </p:ext>
            </p:extLst>
          </p:nvPr>
        </p:nvGraphicFramePr>
        <p:xfrm>
          <a:off x="1192" y="2119"/>
          <a:ext cx="1190"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2119"/>
                        <a:ext cx="1190" cy="2116"/>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t> Offshore Mining and Civil  / </a:t>
            </a:r>
            <a:fld id="{CFD780AD-5876-4BCA-80DC-E96648A7269F}" type="slidenum">
              <a:rPr lang="en-AU" smtClean="0"/>
              <a:pPr/>
              <a:t>‹#›</a:t>
            </a:fld>
            <a:endParaRPr lang="en-AU" dirty="0"/>
          </a:p>
        </p:txBody>
      </p:sp>
      <p:sp>
        <p:nvSpPr>
          <p:cNvPr id="4" name="Rectangle 3"/>
          <p:cNvSpPr/>
          <p:nvPr userDrawn="1"/>
        </p:nvSpPr>
        <p:spPr>
          <a:xfrm>
            <a:off x="250031" y="5178703"/>
            <a:ext cx="6372225" cy="1913344"/>
          </a:xfrm>
          <a:prstGeom prst="rect">
            <a:avLst/>
          </a:prstGeom>
        </p:spPr>
        <p:txBody>
          <a:bodyPr wrap="square">
            <a:spAutoFit/>
          </a:bodyPr>
          <a:lstStyle/>
          <a:p>
            <a:pPr>
              <a:spcAft>
                <a:spcPts val="450"/>
              </a:spcAft>
            </a:pPr>
            <a:r>
              <a:rPr lang="en-AU" sz="750" b="1" dirty="0">
                <a:solidFill>
                  <a:srgbClr val="A38F68"/>
                </a:solidFill>
                <a:cs typeface="Segoe UI"/>
              </a:rPr>
              <a:t>DISCLAIMER</a:t>
            </a:r>
          </a:p>
          <a:p>
            <a:pPr>
              <a:spcAft>
                <a:spcPts val="450"/>
              </a:spcAft>
            </a:pPr>
            <a:r>
              <a:rPr lang="en-AU" sz="750" dirty="0">
                <a:solidFill>
                  <a:srgbClr val="000000"/>
                </a:solidFill>
                <a:cs typeface="Segoe UI"/>
              </a:rPr>
              <a:t>This presentation has been prepared by a representative of Offshore Mining and Civil.</a:t>
            </a:r>
          </a:p>
          <a:p>
            <a:pPr>
              <a:spcAft>
                <a:spcPts val="450"/>
              </a:spcAft>
            </a:pPr>
            <a:r>
              <a:rPr lang="en-AU" sz="750" dirty="0">
                <a:solidFill>
                  <a:srgbClr val="000000"/>
                </a:solidFill>
                <a:cs typeface="Segoe UI"/>
              </a:rPr>
              <a:t>The presentation contains the professional and personal opinions of the presenter, which are given in good faith.  As such, opinions presented herein may not always necessarily reflect the position of Offshore Mining and Civil as a whole, its officers or executive.</a:t>
            </a:r>
          </a:p>
          <a:p>
            <a:pPr>
              <a:spcAft>
                <a:spcPts val="450"/>
              </a:spcAft>
            </a:pPr>
            <a:r>
              <a:rPr lang="en-AU" sz="750" dirty="0">
                <a:solidFill>
                  <a:srgbClr val="000000"/>
                </a:solidFill>
                <a:cs typeface="Segoe UI"/>
              </a:rPr>
              <a:t>Any forward-looking statements included in this presentation will involve subjective judgment and analysis and are subject to uncertainties, risks and contingencies—many of which are outside the control of, and may be unknown to, Offshore Mining and Civil.  </a:t>
            </a:r>
          </a:p>
          <a:p>
            <a:pPr>
              <a:spcAft>
                <a:spcPts val="450"/>
              </a:spcAft>
            </a:pPr>
            <a:r>
              <a:rPr lang="en-AU" sz="750" dirty="0">
                <a:solidFill>
                  <a:srgbClr val="000000"/>
                </a:solidFill>
                <a:cs typeface="Segoe UI"/>
              </a:rPr>
              <a:t>Offshore Mining and Civil and all associated entities and representatives make no representation or warranty as to the accuracy, reliability or completeness of information in this document and do not take responsibility for updating any information or correcting any error or omission that may become apparent after this document has been issued.</a:t>
            </a:r>
          </a:p>
          <a:p>
            <a:pPr>
              <a:spcAft>
                <a:spcPts val="450"/>
              </a:spcAft>
            </a:pPr>
            <a:r>
              <a:rPr lang="en-AU" sz="750" dirty="0">
                <a:solidFill>
                  <a:srgbClr val="000000"/>
                </a:solidFill>
                <a:cs typeface="Segoe UI"/>
              </a:rPr>
              <a:t>To the extent permitted by law, Offshore Mining and Civil and its officers, employees, related bodies and agents disclaim all liability—direct, indirect or consequential (and whether or not arising out of the negligence, default or lack of care of Offshore Mining and Civil and/or any of its agents)—for any loss or damage suffered by a recipient or other persons arising out of, or in connection with, any use or reliance on this presentation or information.</a:t>
            </a:r>
          </a:p>
        </p:txBody>
      </p:sp>
    </p:spTree>
    <p:extLst>
      <p:ext uri="{BB962C8B-B14F-4D97-AF65-F5344CB8AC3E}">
        <p14:creationId xmlns:p14="http://schemas.microsoft.com/office/powerpoint/2010/main" val="303887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2">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1200"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a:off x="296653" y="5436099"/>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62080" y="5723237"/>
            <a:ext cx="2916324" cy="672075"/>
          </a:xfrm>
        </p:spPr>
        <p:txBody>
          <a:bodyPr>
            <a:noAutofit/>
          </a:bodyPr>
          <a:lstStyle>
            <a:lvl1pPr rtl="0">
              <a:defRPr sz="1500"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62082" y="6492213"/>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62043" y="6683341"/>
            <a:ext cx="2430308" cy="1824203"/>
          </a:xfrm>
        </p:spPr>
        <p:txBody>
          <a:bodyPr>
            <a:noAutofit/>
          </a:bodyPr>
          <a:lstStyle>
            <a:lvl1pPr marL="0" indent="0" rtl="0">
              <a:spcAft>
                <a:spcPts val="0"/>
              </a:spcAft>
              <a:buNone/>
              <a:defRPr sz="105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271450" indent="0">
              <a:spcAft>
                <a:spcPts val="0"/>
              </a:spcAft>
              <a:buNone/>
              <a:defRPr sz="1050">
                <a:solidFill>
                  <a:schemeClr val="bg1"/>
                </a:solidFill>
              </a:defRPr>
            </a:lvl2pPr>
            <a:lvl3pPr marL="482179" indent="0">
              <a:spcAft>
                <a:spcPts val="0"/>
              </a:spcAft>
              <a:buNone/>
              <a:defRPr sz="1050">
                <a:solidFill>
                  <a:schemeClr val="bg1"/>
                </a:solidFill>
              </a:defRPr>
            </a:lvl3pPr>
            <a:lvl4pPr marL="677432" indent="0">
              <a:spcAft>
                <a:spcPts val="0"/>
              </a:spcAft>
              <a:buNone/>
              <a:defRPr sz="1050">
                <a:solidFill>
                  <a:schemeClr val="bg1"/>
                </a:solidFill>
              </a:defRPr>
            </a:lvl4pPr>
            <a:lvl5pPr marL="881019" indent="0">
              <a:spcAft>
                <a:spcPts val="0"/>
              </a:spcAft>
              <a:buNone/>
              <a:defRPr sz="105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7964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3">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1200"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a:off x="3126430" y="443545"/>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ctr">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3707123" y="635565"/>
            <a:ext cx="2916324" cy="672075"/>
          </a:xfrm>
        </p:spPr>
        <p:txBody>
          <a:bodyPr>
            <a:noAutofit/>
          </a:bodyPr>
          <a:lstStyle>
            <a:lvl1pPr rtl="0">
              <a:defRPr sz="1500"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07126" y="14045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23067" y="1595669"/>
            <a:ext cx="2430308" cy="1824203"/>
          </a:xfrm>
        </p:spPr>
        <p:txBody>
          <a:bodyPr>
            <a:noAutofit/>
          </a:bodyPr>
          <a:lstStyle>
            <a:lvl1pPr marL="0" indent="0" rtl="0">
              <a:spcAft>
                <a:spcPts val="0"/>
              </a:spcAft>
              <a:buNone/>
              <a:defRPr sz="105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271450" indent="0">
              <a:spcAft>
                <a:spcPts val="0"/>
              </a:spcAft>
              <a:buNone/>
              <a:defRPr sz="1050">
                <a:solidFill>
                  <a:schemeClr val="bg1"/>
                </a:solidFill>
              </a:defRPr>
            </a:lvl2pPr>
            <a:lvl3pPr marL="482179" indent="0">
              <a:spcAft>
                <a:spcPts val="0"/>
              </a:spcAft>
              <a:buNone/>
              <a:defRPr sz="1050">
                <a:solidFill>
                  <a:schemeClr val="bg1"/>
                </a:solidFill>
              </a:defRPr>
            </a:lvl3pPr>
            <a:lvl4pPr marL="677432" indent="0">
              <a:spcAft>
                <a:spcPts val="0"/>
              </a:spcAft>
              <a:buNone/>
              <a:defRPr sz="1050">
                <a:solidFill>
                  <a:schemeClr val="bg1"/>
                </a:solidFill>
              </a:defRPr>
            </a:lvl4pPr>
            <a:lvl5pPr marL="881019" indent="0">
              <a:spcAft>
                <a:spcPts val="0"/>
              </a:spcAft>
              <a:buNone/>
              <a:defRPr sz="105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526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4">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1200"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flipV="1">
            <a:off x="3122230" y="5506151"/>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l" rtl="0">
              <a:buNone/>
              <a:defRPr sz="10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2" name="Title 1"/>
          <p:cNvSpPr>
            <a:spLocks noGrp="1"/>
          </p:cNvSpPr>
          <p:nvPr>
            <p:ph type="title"/>
          </p:nvPr>
        </p:nvSpPr>
        <p:spPr>
          <a:xfrm>
            <a:off x="3957638" y="5698169"/>
            <a:ext cx="2661609" cy="672075"/>
          </a:xfrm>
        </p:spPr>
        <p:txBody>
          <a:bodyPr>
            <a:noAutofit/>
          </a:bodyPr>
          <a:lstStyle>
            <a:lvl1pPr rtl="0">
              <a:defRPr sz="1500"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48836" y="6467148"/>
            <a:ext cx="2920524"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18867" y="6658277"/>
            <a:ext cx="2430308" cy="1824203"/>
          </a:xfrm>
        </p:spPr>
        <p:txBody>
          <a:bodyPr>
            <a:noAutofit/>
          </a:bodyPr>
          <a:lstStyle>
            <a:lvl1pPr marL="0" indent="0">
              <a:spcAft>
                <a:spcPts val="0"/>
              </a:spcAft>
              <a:buNone/>
              <a:defRPr sz="1050">
                <a:solidFill>
                  <a:schemeClr val="bg1"/>
                </a:solidFill>
              </a:defRPr>
            </a:lvl1pPr>
            <a:lvl2pPr marL="271450" indent="0">
              <a:spcAft>
                <a:spcPts val="0"/>
              </a:spcAft>
              <a:buNone/>
              <a:defRPr sz="1050">
                <a:solidFill>
                  <a:schemeClr val="bg1"/>
                </a:solidFill>
              </a:defRPr>
            </a:lvl2pPr>
            <a:lvl3pPr marL="482179" indent="0">
              <a:spcAft>
                <a:spcPts val="0"/>
              </a:spcAft>
              <a:buNone/>
              <a:defRPr sz="1050">
                <a:solidFill>
                  <a:schemeClr val="bg1"/>
                </a:solidFill>
              </a:defRPr>
            </a:lvl3pPr>
            <a:lvl4pPr marL="677432" indent="0">
              <a:spcAft>
                <a:spcPts val="0"/>
              </a:spcAft>
              <a:buNone/>
              <a:defRPr sz="1050">
                <a:solidFill>
                  <a:schemeClr val="bg1"/>
                </a:solidFill>
              </a:defRPr>
            </a:lvl4pPr>
            <a:lvl5pPr marL="881019" indent="0">
              <a:spcAft>
                <a:spcPts val="0"/>
              </a:spcAft>
              <a:buNone/>
              <a:defRPr sz="105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320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dvisian Cover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83161298"/>
              </p:ext>
            </p:extLst>
          </p:nvPr>
        </p:nvGraphicFramePr>
        <p:xfrm>
          <a:off x="1192" y="2119"/>
          <a:ext cx="1190"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2119"/>
                        <a:ext cx="1190" cy="2116"/>
                      </a:xfrm>
                      <a:prstGeom prst="rect">
                        <a:avLst/>
                      </a:prstGeom>
                    </p:spPr>
                  </p:pic>
                </p:oleObj>
              </mc:Fallback>
            </mc:AlternateContent>
          </a:graphicData>
        </a:graphic>
      </p:graphicFrame>
      <p:sp>
        <p:nvSpPr>
          <p:cNvPr id="10" name="Freeform 9"/>
          <p:cNvSpPr/>
          <p:nvPr userDrawn="1"/>
        </p:nvSpPr>
        <p:spPr>
          <a:xfrm>
            <a:off x="3080385" y="-30480"/>
            <a:ext cx="3794760" cy="7345680"/>
          </a:xfrm>
          <a:custGeom>
            <a:avLst/>
            <a:gdLst>
              <a:gd name="connsiteX0" fmla="*/ 0 w 5059680"/>
              <a:gd name="connsiteY0" fmla="*/ 7620 h 5509260"/>
              <a:gd name="connsiteX1" fmla="*/ 2095500 w 5059680"/>
              <a:gd name="connsiteY1" fmla="*/ 5509260 h 5509260"/>
              <a:gd name="connsiteX2" fmla="*/ 5059680 w 5059680"/>
              <a:gd name="connsiteY2" fmla="*/ 5509260 h 5509260"/>
              <a:gd name="connsiteX3" fmla="*/ 5059680 w 5059680"/>
              <a:gd name="connsiteY3" fmla="*/ 0 h 5509260"/>
              <a:gd name="connsiteX4" fmla="*/ 0 w 5059680"/>
              <a:gd name="connsiteY4" fmla="*/ 7620 h 5509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9680" h="5509260">
                <a:moveTo>
                  <a:pt x="0" y="7620"/>
                </a:moveTo>
                <a:lnTo>
                  <a:pt x="2095500" y="5509260"/>
                </a:lnTo>
                <a:lnTo>
                  <a:pt x="5059680" y="5509260"/>
                </a:lnTo>
                <a:lnTo>
                  <a:pt x="5059680" y="0"/>
                </a:lnTo>
                <a:lnTo>
                  <a:pt x="0" y="762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rgbClr val="FFFFFF"/>
              </a:solidFill>
            </a:endParaRPr>
          </a:p>
        </p:txBody>
      </p:sp>
      <p:sp>
        <p:nvSpPr>
          <p:cNvPr id="13" name="Parallelogram 10"/>
          <p:cNvSpPr/>
          <p:nvPr userDrawn="1"/>
        </p:nvSpPr>
        <p:spPr>
          <a:xfrm>
            <a:off x="0" y="921323"/>
            <a:ext cx="5696472" cy="8222677"/>
          </a:xfrm>
          <a:custGeom>
            <a:avLst/>
            <a:gdLst/>
            <a:ahLst/>
            <a:cxnLst/>
            <a:rect l="l" t="t" r="r" b="b"/>
            <a:pathLst>
              <a:path w="7595296" h="6167008">
                <a:moveTo>
                  <a:pt x="979814" y="0"/>
                </a:moveTo>
                <a:lnTo>
                  <a:pt x="7595296" y="0"/>
                </a:lnTo>
                <a:lnTo>
                  <a:pt x="4949095" y="6167008"/>
                </a:lnTo>
                <a:lnTo>
                  <a:pt x="4805101" y="6167008"/>
                </a:lnTo>
                <a:lnTo>
                  <a:pt x="7389158" y="144828"/>
                </a:lnTo>
                <a:lnTo>
                  <a:pt x="1086113" y="144828"/>
                </a:lnTo>
                <a:lnTo>
                  <a:pt x="0" y="2676029"/>
                </a:lnTo>
                <a:lnTo>
                  <a:pt x="0" y="228347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rgbClr val="FFFFFF"/>
              </a:solidFill>
            </a:endParaRPr>
          </a:p>
        </p:txBody>
      </p:sp>
      <p:sp>
        <p:nvSpPr>
          <p:cNvPr id="20" name="Date Placeholder 3"/>
          <p:cNvSpPr txBox="1">
            <a:spLocks/>
          </p:cNvSpPr>
          <p:nvPr userDrawn="1"/>
        </p:nvSpPr>
        <p:spPr>
          <a:xfrm>
            <a:off x="620316" y="8368795"/>
            <a:ext cx="952128" cy="288032"/>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750" dirty="0">
                <a:solidFill>
                  <a:srgbClr val="000000"/>
                </a:solidFill>
                <a:ea typeface="Segoe UI" panose="020B0502040204020203" pitchFamily="34" charset="0"/>
                <a:cs typeface="Segoe UI" panose="020B0502040204020203" pitchFamily="34" charset="0"/>
              </a:rPr>
              <a:t>www.</a:t>
            </a:r>
            <a:r>
              <a:rPr lang="en-AU" sz="750" b="1" dirty="0">
                <a:solidFill>
                  <a:srgbClr val="000000"/>
                </a:solidFill>
                <a:ea typeface="Segoe UI" panose="020B0502040204020203" pitchFamily="34" charset="0"/>
                <a:cs typeface="Segoe UI" panose="020B0502040204020203" pitchFamily="34" charset="0"/>
              </a:rPr>
              <a:t>omc</a:t>
            </a:r>
            <a:r>
              <a:rPr lang="en-AU" sz="750" dirty="0">
                <a:solidFill>
                  <a:srgbClr val="000000"/>
                </a:solidFill>
                <a:ea typeface="Segoe UI" panose="020B0502040204020203" pitchFamily="34" charset="0"/>
                <a:cs typeface="Segoe UI" panose="020B0502040204020203" pitchFamily="34" charset="0"/>
              </a:rPr>
              <a:t>.com.au</a:t>
            </a:r>
          </a:p>
        </p:txBody>
      </p:sp>
      <p:sp>
        <p:nvSpPr>
          <p:cNvPr id="3" name="Title 2"/>
          <p:cNvSpPr>
            <a:spLocks noGrp="1"/>
          </p:cNvSpPr>
          <p:nvPr>
            <p:ph type="title"/>
          </p:nvPr>
        </p:nvSpPr>
        <p:spPr>
          <a:xfrm>
            <a:off x="620316" y="2873711"/>
            <a:ext cx="2992858" cy="1990388"/>
          </a:xfrm>
        </p:spPr>
        <p:txBody>
          <a:bodyPr/>
          <a:lstStyle>
            <a:lvl1pPr rtl="0">
              <a:defRPr/>
            </a:lvl1pPr>
          </a:lstStyle>
          <a:p>
            <a:r>
              <a:rPr lang="en-US"/>
              <a:t>Click to edit Master title style</a:t>
            </a:r>
            <a:endParaRPr lang="en-AU" dirty="0"/>
          </a:p>
        </p:txBody>
      </p:sp>
      <p:sp>
        <p:nvSpPr>
          <p:cNvPr id="6" name="Text Placeholder 5"/>
          <p:cNvSpPr>
            <a:spLocks noGrp="1"/>
          </p:cNvSpPr>
          <p:nvPr>
            <p:ph type="body" sz="quarter" idx="10"/>
          </p:nvPr>
        </p:nvSpPr>
        <p:spPr>
          <a:xfrm>
            <a:off x="620318" y="5080000"/>
            <a:ext cx="3022997" cy="524933"/>
          </a:xfrm>
        </p:spPr>
        <p:txBody>
          <a:bodyPr>
            <a:noAutofit/>
          </a:bodyPr>
          <a:lstStyle>
            <a:lvl1pPr rtl="0">
              <a:spcAft>
                <a:spcPts val="0"/>
              </a:spcAft>
              <a:defRPr sz="1350"/>
            </a:lvl1pPr>
            <a:lvl2pPr>
              <a:defRPr sz="1350"/>
            </a:lvl2pPr>
            <a:lvl3pPr>
              <a:defRPr sz="1350"/>
            </a:lvl3pPr>
            <a:lvl4pPr>
              <a:defRPr sz="1350"/>
            </a:lvl4pPr>
            <a:lvl5pPr>
              <a:defRPr sz="1350"/>
            </a:lvl5pPr>
          </a:lstStyle>
          <a:p>
            <a:pPr lvl="0"/>
            <a:r>
              <a:rPr lang="en-US"/>
              <a:t>Click to edit Master text styles</a:t>
            </a:r>
          </a:p>
        </p:txBody>
      </p:sp>
      <p:sp>
        <p:nvSpPr>
          <p:cNvPr id="8" name="Text Placeholder 7"/>
          <p:cNvSpPr>
            <a:spLocks noGrp="1"/>
          </p:cNvSpPr>
          <p:nvPr>
            <p:ph type="body" sz="quarter" idx="11"/>
          </p:nvPr>
        </p:nvSpPr>
        <p:spPr>
          <a:xfrm>
            <a:off x="620316" y="6487649"/>
            <a:ext cx="3044428" cy="711200"/>
          </a:xfrm>
        </p:spPr>
        <p:txBody>
          <a:bodyPr>
            <a:noAutofit/>
          </a:bodyPr>
          <a:lstStyle>
            <a:lvl1pPr marL="0" indent="0" rtl="0">
              <a:spcAft>
                <a:spcPts val="0"/>
              </a:spcAft>
              <a:buFont typeface="Arial" panose="020B0604020202020204" pitchFamily="34" charset="0"/>
              <a:buNone/>
              <a:defRPr sz="750"/>
            </a:lvl1pPr>
            <a:lvl2pPr marL="0" indent="0">
              <a:buNone/>
              <a:defRPr sz="750"/>
            </a:lvl2pPr>
            <a:lvl3pPr marL="269068" indent="0">
              <a:buNone/>
              <a:defRPr sz="750"/>
            </a:lvl3pPr>
            <a:lvl4pPr marL="536945" indent="0">
              <a:buNone/>
              <a:defRPr sz="750"/>
            </a:lvl4pPr>
            <a:lvl5pPr marL="806012" indent="0">
              <a:buNone/>
              <a:defRPr sz="750"/>
            </a:lvl5pPr>
          </a:lstStyle>
          <a:p>
            <a:pPr lvl="0"/>
            <a:r>
              <a:rPr lang="en-US"/>
              <a:t>Click to edit Master text styles</a:t>
            </a:r>
          </a:p>
        </p:txBody>
      </p:sp>
      <p:grpSp>
        <p:nvGrpSpPr>
          <p:cNvPr id="11" name="Group 10"/>
          <p:cNvGrpSpPr/>
          <p:nvPr userDrawn="1"/>
        </p:nvGrpSpPr>
        <p:grpSpPr>
          <a:xfrm>
            <a:off x="6939440" y="2"/>
            <a:ext cx="2557463" cy="8863937"/>
            <a:chOff x="9252585" y="0"/>
            <a:chExt cx="3409950" cy="6647953"/>
          </a:xfrm>
        </p:grpSpPr>
        <p:sp>
          <p:nvSpPr>
            <p:cNvPr id="12" name="TextBox 11"/>
            <p:cNvSpPr txBox="1"/>
            <p:nvPr userDrawn="1"/>
          </p:nvSpPr>
          <p:spPr>
            <a:xfrm>
              <a:off x="9252585" y="0"/>
              <a:ext cx="3409950" cy="3808735"/>
            </a:xfrm>
            <a:prstGeom prst="rect">
              <a:avLst/>
            </a:prstGeom>
            <a:solidFill>
              <a:schemeClr val="accent2"/>
            </a:solidFill>
          </p:spPr>
          <p:txBody>
            <a:bodyPr wrap="square" rtlCol="0">
              <a:spAutoFit/>
            </a:bodyPr>
            <a:lstStyle/>
            <a:p>
              <a:r>
                <a:rPr lang="en-AU" sz="900" b="1" dirty="0">
                  <a:solidFill>
                    <a:srgbClr val="FFFFFF"/>
                  </a:solidFill>
                </a:rPr>
                <a:t>INSTRUCTIONS FOR CHANGING </a:t>
              </a:r>
              <a:br>
                <a:rPr lang="en-AU" sz="900" b="1" dirty="0">
                  <a:solidFill>
                    <a:srgbClr val="FFFFFF"/>
                  </a:solidFill>
                </a:rPr>
              </a:br>
              <a:r>
                <a:rPr lang="en-AU" sz="900" b="1" dirty="0">
                  <a:solidFill>
                    <a:srgbClr val="FFFFFF"/>
                  </a:solidFill>
                </a:rPr>
                <a:t>COVER IMAGES:</a:t>
              </a:r>
            </a:p>
            <a:p>
              <a:pPr marL="214303" indent="-214303">
                <a:buFont typeface="Arial" panose="020B0604020202020204" pitchFamily="34" charset="0"/>
                <a:buChar char="•"/>
              </a:pPr>
              <a:endParaRPr lang="en-AU" sz="750" dirty="0">
                <a:solidFill>
                  <a:srgbClr val="FFFFFF"/>
                </a:solidFill>
                <a:latin typeface="Segoe UI Semibold" panose="020B0702040204020203" pitchFamily="34" charset="0"/>
              </a:endParaRPr>
            </a:p>
            <a:p>
              <a:pPr marL="214303" indent="-214303">
                <a:buFont typeface="+mj-lt"/>
                <a:buAutoNum type="arabicPeriod"/>
              </a:pPr>
              <a:r>
                <a:rPr lang="en-AU" sz="750" dirty="0">
                  <a:solidFill>
                    <a:srgbClr val="FFFFFF"/>
                  </a:solidFill>
                  <a:latin typeface="Segoe UI Semibold" panose="020B0702040204020203" pitchFamily="34" charset="0"/>
                </a:rPr>
                <a:t>Select both images by holding down </a:t>
              </a:r>
              <a:br>
                <a:rPr lang="en-AU" sz="750" dirty="0">
                  <a:solidFill>
                    <a:srgbClr val="FFFFFF"/>
                  </a:solidFill>
                  <a:latin typeface="Segoe UI Semibold" panose="020B0702040204020203" pitchFamily="34" charset="0"/>
                </a:rPr>
              </a:br>
              <a:r>
                <a:rPr lang="en-AU" sz="750" dirty="0">
                  <a:solidFill>
                    <a:srgbClr val="FFFFFF"/>
                  </a:solidFill>
                  <a:latin typeface="Segoe UI Semibold" panose="020B0702040204020203" pitchFamily="34" charset="0"/>
                </a:rPr>
                <a:t>the ‘Ctrl’ button</a:t>
              </a:r>
            </a:p>
            <a:p>
              <a:pPr marL="214303" indent="-214303">
                <a:buFont typeface="+mj-lt"/>
                <a:buAutoNum type="arabicPeriod"/>
              </a:pPr>
              <a:r>
                <a:rPr lang="en-AU" sz="750" dirty="0">
                  <a:solidFill>
                    <a:srgbClr val="FFFFFF"/>
                  </a:solidFill>
                  <a:latin typeface="Segoe UI Semibold" panose="020B0702040204020203" pitchFamily="34" charset="0"/>
                </a:rPr>
                <a:t>Go to </a:t>
              </a:r>
              <a:r>
                <a:rPr lang="en-AU" sz="750" b="1" dirty="0">
                  <a:solidFill>
                    <a:srgbClr val="00AEEF"/>
                  </a:solidFill>
                </a:rPr>
                <a:t>DRAWING TOOLS</a:t>
              </a:r>
            </a:p>
            <a:p>
              <a:pPr marL="214303" indent="-214303">
                <a:buFont typeface="+mj-lt"/>
                <a:buAutoNum type="arabicPeriod"/>
              </a:pPr>
              <a:r>
                <a:rPr lang="en-AU" sz="750" dirty="0">
                  <a:solidFill>
                    <a:srgbClr val="FFFFFF"/>
                  </a:solidFill>
                  <a:latin typeface="Segoe UI Semibold" panose="020B0702040204020203" pitchFamily="34" charset="0"/>
                </a:rPr>
                <a:t>Click the arrow next to </a:t>
              </a:r>
              <a:r>
                <a:rPr lang="en-AU" sz="750" b="1" dirty="0">
                  <a:solidFill>
                    <a:srgbClr val="00AEEF"/>
                  </a:solidFill>
                </a:rPr>
                <a:t>SHAPE FILL</a:t>
              </a:r>
            </a:p>
            <a:p>
              <a:pPr marL="214303" indent="-214303">
                <a:buFont typeface="+mj-lt"/>
                <a:buAutoNum type="arabicPeriod"/>
              </a:pPr>
              <a:r>
                <a:rPr lang="en-AU" sz="750" dirty="0">
                  <a:solidFill>
                    <a:srgbClr val="FFFFFF"/>
                  </a:solidFill>
                  <a:latin typeface="Segoe UI Semibold" panose="020B0702040204020203" pitchFamily="34" charset="0"/>
                </a:rPr>
                <a:t>Click </a:t>
              </a:r>
              <a:r>
                <a:rPr lang="en-AU" sz="750" b="1" dirty="0">
                  <a:solidFill>
                    <a:srgbClr val="00AEEF"/>
                  </a:solidFill>
                </a:rPr>
                <a:t>PICTURE</a:t>
              </a:r>
            </a:p>
            <a:p>
              <a:pPr marL="214303" indent="-214303">
                <a:buFont typeface="+mj-lt"/>
                <a:buAutoNum type="arabicPeriod"/>
              </a:pPr>
              <a:r>
                <a:rPr lang="en-AU" sz="750" dirty="0">
                  <a:solidFill>
                    <a:srgbClr val="FFFFFF"/>
                  </a:solidFill>
                  <a:latin typeface="Segoe UI Semibold" panose="020B0702040204020203" pitchFamily="34" charset="0"/>
                </a:rPr>
                <a:t>Locate the folder that contains the picture you want to use and click </a:t>
              </a:r>
              <a:r>
                <a:rPr lang="en-AU" sz="750" b="1" dirty="0">
                  <a:solidFill>
                    <a:srgbClr val="00AEEF"/>
                  </a:solidFill>
                </a:rPr>
                <a:t>INSERT</a:t>
              </a:r>
            </a:p>
            <a:p>
              <a:pPr marL="214303" indent="-214303">
                <a:buFont typeface="+mj-lt"/>
                <a:buAutoNum type="arabicPeriod"/>
              </a:pPr>
              <a:endParaRPr lang="en-AU" sz="750" dirty="0">
                <a:solidFill>
                  <a:srgbClr val="FFFFFF"/>
                </a:solidFill>
                <a:latin typeface="Segoe UI Semibold" panose="020B0702040204020203" pitchFamily="34" charset="0"/>
              </a:endParaRPr>
            </a:p>
            <a:p>
              <a:pPr marL="214303" indent="-214303">
                <a:buFont typeface="+mj-lt"/>
                <a:buAutoNum type="arabicPeriod"/>
              </a:pPr>
              <a:endParaRPr lang="en-AU" sz="750" dirty="0">
                <a:solidFill>
                  <a:srgbClr val="FFFFFF"/>
                </a:solidFill>
                <a:latin typeface="Segoe UI Semibold" panose="020B0702040204020203" pitchFamily="34" charset="0"/>
              </a:endParaRPr>
            </a:p>
            <a:p>
              <a:pPr marL="214303" indent="-214303">
                <a:buFont typeface="+mj-lt"/>
                <a:buAutoNum type="arabicPeriod"/>
              </a:pPr>
              <a:endParaRPr lang="en-AU" sz="750" dirty="0">
                <a:solidFill>
                  <a:srgbClr val="FFFFFF"/>
                </a:solidFill>
                <a:latin typeface="Segoe UI Semibold" panose="020B0702040204020203" pitchFamily="34" charset="0"/>
              </a:endParaRPr>
            </a:p>
            <a:p>
              <a:pPr marL="214303" indent="-214303">
                <a:buFont typeface="+mj-lt"/>
                <a:buAutoNum type="arabicPeriod"/>
              </a:pPr>
              <a:endParaRPr lang="en-AU" sz="750" dirty="0">
                <a:solidFill>
                  <a:srgbClr val="FFFFFF"/>
                </a:solidFill>
                <a:latin typeface="Segoe UI Semibold" panose="020B0702040204020203" pitchFamily="34" charset="0"/>
              </a:endParaRPr>
            </a:p>
            <a:p>
              <a:pPr marL="214303" indent="-214303">
                <a:buFont typeface="+mj-lt"/>
                <a:buAutoNum type="arabicPeriod"/>
              </a:pPr>
              <a:endParaRPr lang="en-AU" sz="750" dirty="0">
                <a:solidFill>
                  <a:srgbClr val="FFFFFF"/>
                </a:solidFill>
                <a:latin typeface="Segoe UI Semibold" panose="020B0702040204020203" pitchFamily="34" charset="0"/>
              </a:endParaRPr>
            </a:p>
            <a:p>
              <a:pPr marL="214303" indent="-214303">
                <a:buFont typeface="+mj-lt"/>
                <a:buAutoNum type="arabicPeriod"/>
              </a:pPr>
              <a:endParaRPr lang="en-AU" sz="750" dirty="0">
                <a:solidFill>
                  <a:srgbClr val="FFFFFF"/>
                </a:solidFill>
                <a:latin typeface="Segoe UI Semibold" panose="020B0702040204020203" pitchFamily="34" charset="0"/>
              </a:endParaRPr>
            </a:p>
            <a:p>
              <a:pPr>
                <a:buFont typeface="+mj-lt"/>
                <a:buNone/>
              </a:pPr>
              <a:endParaRPr lang="en-AU" sz="750" dirty="0">
                <a:solidFill>
                  <a:srgbClr val="FFFFFF"/>
                </a:solidFill>
                <a:latin typeface="Segoe UI Semibold" panose="020B0702040204020203" pitchFamily="34" charset="0"/>
              </a:endParaRPr>
            </a:p>
            <a:p>
              <a:pPr marL="214303" indent="-214303">
                <a:buFont typeface="+mj-lt"/>
                <a:buAutoNum type="arabicPeriod"/>
              </a:pPr>
              <a:endParaRPr lang="en-AU" sz="750" dirty="0">
                <a:solidFill>
                  <a:srgbClr val="FFFFFF"/>
                </a:solidFill>
                <a:latin typeface="Segoe UI Semibold" panose="020B0702040204020203" pitchFamily="34" charset="0"/>
              </a:endParaRPr>
            </a:p>
            <a:p>
              <a:pPr marL="214303" indent="-214303">
                <a:buFont typeface="+mj-lt"/>
                <a:buAutoNum type="arabicPeriod"/>
              </a:pPr>
              <a:endParaRPr lang="en-AU" sz="750" dirty="0">
                <a:solidFill>
                  <a:srgbClr val="FFFFFF"/>
                </a:solidFill>
                <a:latin typeface="Segoe UI Semibold" panose="020B0702040204020203" pitchFamily="34" charset="0"/>
              </a:endParaRPr>
            </a:p>
            <a:p>
              <a:pPr marL="214303" indent="-214303">
                <a:buFont typeface="Arial" panose="020B0604020202020204" pitchFamily="34" charset="0"/>
                <a:buChar char="•"/>
              </a:pPr>
              <a:endParaRPr lang="en-AU" sz="750" dirty="0">
                <a:solidFill>
                  <a:srgbClr val="FFFFFF"/>
                </a:solidFill>
                <a:latin typeface="Segoe UI Semibold" panose="020B0702040204020203" pitchFamily="34" charset="0"/>
              </a:endParaRPr>
            </a:p>
            <a:p>
              <a:pPr>
                <a:buFont typeface="Arial" panose="020B0604020202020204" pitchFamily="34" charset="0"/>
                <a:buNone/>
              </a:pPr>
              <a:r>
                <a:rPr lang="en-AU" sz="900" b="1" dirty="0">
                  <a:solidFill>
                    <a:srgbClr val="FFFFFF"/>
                  </a:solidFill>
                </a:rPr>
                <a:t>INSTRUCTIONS TO RESIZE AND REPOSITION YOUR IMAGE:</a:t>
              </a:r>
            </a:p>
            <a:p>
              <a:pPr>
                <a:buFont typeface="Arial" panose="020B0604020202020204" pitchFamily="34" charset="0"/>
                <a:buNone/>
              </a:pPr>
              <a:endParaRPr lang="en-AU" sz="750" b="1" dirty="0">
                <a:solidFill>
                  <a:srgbClr val="FFFFFF"/>
                </a:solidFill>
              </a:endParaRPr>
            </a:p>
            <a:p>
              <a:pPr marL="214303" indent="-214303">
                <a:buFont typeface="+mj-lt"/>
                <a:buAutoNum type="arabicPeriod"/>
                <a:defRPr/>
              </a:pPr>
              <a:r>
                <a:rPr lang="en-AU" sz="750" dirty="0">
                  <a:solidFill>
                    <a:srgbClr val="FFFFFF"/>
                  </a:solidFill>
                  <a:latin typeface="Segoe UI Semibold" panose="020B0702040204020203" pitchFamily="34" charset="0"/>
                </a:rPr>
                <a:t>Click the image you want to edit</a:t>
              </a:r>
            </a:p>
            <a:p>
              <a:pPr marL="214303" indent="-214303">
                <a:buFont typeface="+mj-lt"/>
                <a:buAutoNum type="arabicPeriod"/>
                <a:defRPr/>
              </a:pPr>
              <a:r>
                <a:rPr lang="en-AU" sz="750" dirty="0">
                  <a:solidFill>
                    <a:srgbClr val="FFFFFF"/>
                  </a:solidFill>
                  <a:latin typeface="Segoe UI Semibold" panose="020B0702040204020203" pitchFamily="34" charset="0"/>
                </a:rPr>
                <a:t>Go to </a:t>
              </a:r>
              <a:r>
                <a:rPr lang="en-AU" sz="750" b="1" dirty="0">
                  <a:solidFill>
                    <a:srgbClr val="00AEEF"/>
                  </a:solidFill>
                </a:rPr>
                <a:t>PICTURE TOOLS </a:t>
              </a:r>
            </a:p>
            <a:p>
              <a:pPr marL="214303" indent="-214303">
                <a:buFont typeface="+mj-lt"/>
                <a:buAutoNum type="arabicPeriod"/>
                <a:defRPr/>
              </a:pPr>
              <a:r>
                <a:rPr lang="en-AU" sz="750" dirty="0">
                  <a:solidFill>
                    <a:srgbClr val="FFFFFF"/>
                  </a:solidFill>
                  <a:latin typeface="Segoe UI Semibold" panose="020B0702040204020203" pitchFamily="34" charset="0"/>
                </a:rPr>
                <a:t>To maintain the original size and format </a:t>
              </a:r>
              <a:br>
                <a:rPr lang="en-AU" sz="750" dirty="0">
                  <a:solidFill>
                    <a:srgbClr val="FFFFFF"/>
                  </a:solidFill>
                  <a:latin typeface="Segoe UI Semibold" panose="020B0702040204020203" pitchFamily="34" charset="0"/>
                </a:rPr>
              </a:br>
              <a:r>
                <a:rPr lang="en-AU" sz="750" dirty="0">
                  <a:solidFill>
                    <a:srgbClr val="FFFFFF"/>
                  </a:solidFill>
                  <a:latin typeface="Segoe UI Semibold" panose="020B0702040204020203" pitchFamily="34" charset="0"/>
                </a:rPr>
                <a:t>of the image, click the arrow under </a:t>
              </a:r>
              <a:r>
                <a:rPr lang="en-AU" sz="750" b="1" dirty="0">
                  <a:solidFill>
                    <a:srgbClr val="00AEEF"/>
                  </a:solidFill>
                </a:rPr>
                <a:t>CROP</a:t>
              </a:r>
              <a:r>
                <a:rPr lang="en-AU" sz="750" dirty="0">
                  <a:solidFill>
                    <a:srgbClr val="FFFFFF"/>
                  </a:solidFill>
                  <a:latin typeface="Segoe UI Semibold" panose="020B0702040204020203" pitchFamily="34" charset="0"/>
                </a:rPr>
                <a:t> and click </a:t>
              </a:r>
              <a:r>
                <a:rPr lang="en-AU" sz="750" b="1" dirty="0">
                  <a:solidFill>
                    <a:srgbClr val="00AEEF"/>
                  </a:solidFill>
                </a:rPr>
                <a:t>FIT</a:t>
              </a:r>
            </a:p>
            <a:p>
              <a:pPr marL="214303" indent="-214303">
                <a:buFont typeface="+mj-lt"/>
                <a:buAutoNum type="arabicPeriod"/>
                <a:defRPr/>
              </a:pPr>
              <a:endParaRPr lang="en-AU" sz="900" b="1" dirty="0">
                <a:solidFill>
                  <a:srgbClr val="00AEEF"/>
                </a:solidFill>
              </a:endParaRPr>
            </a:p>
            <a:p>
              <a:pPr marL="214303" indent="-214303">
                <a:buFont typeface="+mj-lt"/>
                <a:buAutoNum type="arabicPeriod"/>
                <a:defRPr/>
              </a:pPr>
              <a:endParaRPr lang="en-AU" sz="900" b="1" dirty="0">
                <a:solidFill>
                  <a:srgbClr val="00AEEF"/>
                </a:solidFill>
              </a:endParaRPr>
            </a:p>
            <a:p>
              <a:pPr marL="214303" indent="-214303">
                <a:buFont typeface="+mj-lt"/>
                <a:buAutoNum type="arabicPeriod"/>
                <a:defRPr/>
              </a:pPr>
              <a:endParaRPr lang="en-AU" sz="900" b="1" dirty="0">
                <a:solidFill>
                  <a:srgbClr val="00AEEF"/>
                </a:solidFill>
              </a:endParaRPr>
            </a:p>
            <a:p>
              <a:pPr marL="214303" indent="-214303">
                <a:buFont typeface="+mj-lt"/>
                <a:buAutoNum type="arabicPeriod"/>
                <a:defRPr/>
              </a:pPr>
              <a:endParaRPr lang="en-AU" sz="900" b="1" dirty="0">
                <a:solidFill>
                  <a:srgbClr val="00AEEF"/>
                </a:solidFill>
              </a:endParaRPr>
            </a:p>
            <a:p>
              <a:pPr marL="214303" indent="-214303">
                <a:buFont typeface="+mj-lt"/>
                <a:buAutoNum type="arabicPeriod"/>
                <a:defRPr/>
              </a:pPr>
              <a:endParaRPr lang="en-AU" sz="900" b="1" dirty="0">
                <a:solidFill>
                  <a:srgbClr val="00AEEF"/>
                </a:solidFill>
              </a:endParaRPr>
            </a:p>
            <a:p>
              <a:pPr marL="214303" indent="-214303">
                <a:buFont typeface="+mj-lt"/>
                <a:buAutoNum type="arabicPeriod"/>
                <a:defRPr/>
              </a:pPr>
              <a:endParaRPr lang="en-AU" sz="900" b="1" dirty="0">
                <a:solidFill>
                  <a:srgbClr val="00AEEF"/>
                </a:solidFill>
              </a:endParaRPr>
            </a:p>
            <a:p>
              <a:pPr marL="214303" indent="-214303">
                <a:buFont typeface="+mj-lt"/>
                <a:buAutoNum type="arabicPeriod"/>
                <a:defRPr/>
              </a:pPr>
              <a:endParaRPr lang="en-AU" sz="900" b="1" dirty="0">
                <a:solidFill>
                  <a:srgbClr val="00AEEF"/>
                </a:solidFill>
              </a:endParaRPr>
            </a:p>
            <a:p>
              <a:pPr marL="214303" indent="-214303">
                <a:buFont typeface="+mj-lt"/>
                <a:buAutoNum type="arabicPeriod"/>
                <a:defRPr/>
              </a:pPr>
              <a:r>
                <a:rPr lang="en-AU" sz="750" dirty="0">
                  <a:solidFill>
                    <a:srgbClr val="FFFFFF"/>
                  </a:solidFill>
                  <a:latin typeface="Segoe UI Semibold" panose="020B0702040204020203" pitchFamily="34" charset="0"/>
                </a:rPr>
                <a:t>To reposition or resize your image, click </a:t>
              </a:r>
              <a:r>
                <a:rPr lang="en-AU" sz="750" b="1" dirty="0">
                  <a:solidFill>
                    <a:srgbClr val="00AEEF"/>
                  </a:solidFill>
                </a:rPr>
                <a:t>CROP</a:t>
              </a:r>
              <a:r>
                <a:rPr lang="en-AU" sz="750" dirty="0">
                  <a:solidFill>
                    <a:srgbClr val="FFFFFF"/>
                  </a:solidFill>
                  <a:latin typeface="Segoe UI Semibold" panose="020B0702040204020203" pitchFamily="34" charset="0"/>
                </a:rPr>
                <a:t>, and use the circles on the edge of the image</a:t>
              </a:r>
            </a:p>
            <a:p>
              <a:pPr marL="214303" indent="-214303">
                <a:buFont typeface="+mj-lt"/>
                <a:buAutoNum type="arabicPeriod"/>
                <a:defRPr/>
              </a:pPr>
              <a:endParaRPr lang="en-AU" sz="750" dirty="0">
                <a:solidFill>
                  <a:srgbClr val="FFFFFF"/>
                </a:solidFill>
                <a:latin typeface="Segoe UI Semibold" panose="020B0702040204020203" pitchFamily="34" charset="0"/>
              </a:endParaRPr>
            </a:p>
            <a:p>
              <a:pPr marL="214303" indent="-214303">
                <a:buFont typeface="+mj-lt"/>
                <a:buAutoNum type="arabicPeriod"/>
                <a:defRPr/>
              </a:pPr>
              <a:endParaRPr lang="en-AU" sz="750" dirty="0">
                <a:solidFill>
                  <a:srgbClr val="FFFFFF"/>
                </a:solidFill>
                <a:latin typeface="Segoe UI Semibold" panose="020B0702040204020203" pitchFamily="34" charset="0"/>
              </a:endParaRPr>
            </a:p>
            <a:p>
              <a:pPr marL="214303" indent="-214303">
                <a:buFont typeface="+mj-lt"/>
                <a:buAutoNum type="arabicPeriod"/>
                <a:defRPr/>
              </a:pPr>
              <a:endParaRPr lang="en-AU" sz="750" dirty="0">
                <a:solidFill>
                  <a:srgbClr val="FFFFFF"/>
                </a:solidFill>
                <a:latin typeface="Segoe UI Semibold" panose="020B0702040204020203" pitchFamily="34" charset="0"/>
              </a:endParaRPr>
            </a:p>
            <a:p>
              <a:pPr marL="214303" indent="-214303">
                <a:buFont typeface="+mj-lt"/>
                <a:buAutoNum type="arabicPeriod"/>
                <a:defRPr/>
              </a:pPr>
              <a:endParaRPr lang="en-AU" sz="750" dirty="0">
                <a:solidFill>
                  <a:srgbClr val="FFFFFF"/>
                </a:solidFill>
                <a:latin typeface="Segoe UI Semibold" panose="020B0702040204020203" pitchFamily="34" charset="0"/>
              </a:endParaRPr>
            </a:p>
          </p:txBody>
        </p:sp>
        <p:pic>
          <p:nvPicPr>
            <p:cNvPr id="14" name="Picture 13"/>
            <p:cNvPicPr/>
            <p:nvPr userDrawn="1"/>
          </p:nvPicPr>
          <p:blipFill rotWithShape="1">
            <a:blip r:embed="rId5"/>
            <a:srcRect r="51341"/>
            <a:stretch/>
          </p:blipFill>
          <p:spPr bwMode="auto">
            <a:xfrm>
              <a:off x="9629774" y="1683234"/>
              <a:ext cx="1962152" cy="1325024"/>
            </a:xfrm>
            <a:prstGeom prst="rect">
              <a:avLst/>
            </a:prstGeom>
            <a:ln>
              <a:noFill/>
            </a:ln>
            <a:extLst>
              <a:ext uri="{53640926-AAD7-44D8-BBD7-CCE9431645EC}">
                <a14:shadowObscured xmlns:a14="http://schemas.microsoft.com/office/drawing/2010/main"/>
              </a:ext>
            </a:extLst>
          </p:spPr>
        </p:pic>
        <p:pic>
          <p:nvPicPr>
            <p:cNvPr id="15" name="Picture 2"/>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629774" y="4508500"/>
              <a:ext cx="849363" cy="1139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5"/>
            <p:cNvPicPr/>
            <p:nvPr userDrawn="1"/>
          </p:nvPicPr>
          <p:blipFill rotWithShape="1">
            <a:blip r:embed="rId7"/>
            <a:srcRect l="28204" t="64535" r="61298" b="23643"/>
            <a:stretch/>
          </p:blipFill>
          <p:spPr bwMode="auto">
            <a:xfrm>
              <a:off x="9629774" y="6089637"/>
              <a:ext cx="1508895" cy="558316"/>
            </a:xfrm>
            <a:prstGeom prst="rect">
              <a:avLst/>
            </a:prstGeom>
            <a:ln>
              <a:noFill/>
            </a:ln>
            <a:extLst>
              <a:ext uri="{53640926-AAD7-44D8-BBD7-CCE9431645EC}">
                <a14:shadowObscured xmlns:a14="http://schemas.microsoft.com/office/drawing/2010/main"/>
              </a:ext>
            </a:extLst>
          </p:spPr>
        </p:pic>
        <p:sp>
          <p:nvSpPr>
            <p:cNvPr id="19" name="Oval 18"/>
            <p:cNvSpPr/>
            <p:nvPr userDrawn="1"/>
          </p:nvSpPr>
          <p:spPr>
            <a:xfrm>
              <a:off x="9896475" y="6276596"/>
              <a:ext cx="582662" cy="21602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rgbClr val="FFFFFF"/>
                </a:solidFill>
              </a:endParaRPr>
            </a:p>
          </p:txBody>
        </p:sp>
      </p:grpSp>
      <p:pic>
        <p:nvPicPr>
          <p:cNvPr id="4" name="Picture 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764606" y="7765388"/>
            <a:ext cx="905143" cy="1098549"/>
          </a:xfrm>
          <a:prstGeom prst="rect">
            <a:avLst/>
          </a:prstGeom>
        </p:spPr>
      </p:pic>
    </p:spTree>
    <p:extLst>
      <p:ext uri="{BB962C8B-B14F-4D97-AF65-F5344CB8AC3E}">
        <p14:creationId xmlns:p14="http://schemas.microsoft.com/office/powerpoint/2010/main" val="198061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Advisian title &amp; text 2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3398542"/>
              </p:ext>
            </p:extLst>
          </p:nvPr>
        </p:nvGraphicFramePr>
        <p:xfrm>
          <a:off x="1192" y="2119"/>
          <a:ext cx="1190"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2119"/>
                        <a:ext cx="1190" cy="2116"/>
                      </a:xfrm>
                      <a:prstGeom prst="rect">
                        <a:avLst/>
                      </a:prstGeom>
                    </p:spPr>
                  </p:pic>
                </p:oleObj>
              </mc:Fallback>
            </mc:AlternateContent>
          </a:graphicData>
        </a:graphic>
      </p:graphicFrame>
      <p:sp>
        <p:nvSpPr>
          <p:cNvPr id="2" name="Slide Number Placeholder 1"/>
          <p:cNvSpPr>
            <a:spLocks noGrp="1"/>
          </p:cNvSpPr>
          <p:nvPr>
            <p:ph type="sldNum" sz="quarter" idx="12"/>
          </p:nvPr>
        </p:nvSpPr>
        <p:spPr>
          <a:xfrm>
            <a:off x="5313286" y="8700459"/>
            <a:ext cx="1302068" cy="261508"/>
          </a:xfrm>
        </p:spPr>
        <p:txBody>
          <a:bodyPr/>
          <a:lstStyle>
            <a:lvl1pPr>
              <a:defRPr>
                <a:solidFill>
                  <a:schemeClr val="bg1">
                    <a:lumMod val="50000"/>
                  </a:schemeClr>
                </a:solidFill>
              </a:defRPr>
            </a:lvl1pPr>
          </a:lstStyle>
          <a:p>
            <a:r>
              <a:rPr lang="en-AU" dirty="0">
                <a:solidFill>
                  <a:srgbClr val="FFFFFF">
                    <a:lumMod val="50000"/>
                  </a:srgbClr>
                </a:solidFill>
              </a:rPr>
              <a:t> </a:t>
            </a:r>
            <a:r>
              <a:rPr lang="en-AU" sz="600" dirty="0">
                <a:solidFill>
                  <a:srgbClr val="000000"/>
                </a:solidFill>
                <a:cs typeface="Segoe UI"/>
              </a:rPr>
              <a:t>Offshore</a:t>
            </a:r>
            <a:r>
              <a:rPr lang="en-AU" sz="600" baseline="0" dirty="0">
                <a:solidFill>
                  <a:srgbClr val="000000"/>
                </a:solidFill>
                <a:cs typeface="Segoe UI"/>
              </a:rPr>
              <a:t> Mining and Civil</a:t>
            </a:r>
            <a:r>
              <a:rPr lang="en-AU" dirty="0">
                <a:solidFill>
                  <a:srgbClr val="FFFFFF">
                    <a:lumMod val="50000"/>
                  </a:srgbClr>
                </a:solidFill>
              </a:rPr>
              <a:t>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4" name="Rectangle 3"/>
          <p:cNvSpPr/>
          <p:nvPr userDrawn="1"/>
        </p:nvSpPr>
        <p:spPr>
          <a:xfrm>
            <a:off x="250031" y="5178703"/>
            <a:ext cx="6372225" cy="1913344"/>
          </a:xfrm>
          <a:prstGeom prst="rect">
            <a:avLst/>
          </a:prstGeom>
        </p:spPr>
        <p:txBody>
          <a:bodyPr wrap="square">
            <a:spAutoFit/>
          </a:bodyPr>
          <a:lstStyle/>
          <a:p>
            <a:pPr>
              <a:spcAft>
                <a:spcPts val="450"/>
              </a:spcAft>
            </a:pPr>
            <a:r>
              <a:rPr lang="en-AU" sz="750" b="1" dirty="0">
                <a:solidFill>
                  <a:srgbClr val="A38F68"/>
                </a:solidFill>
                <a:cs typeface="Segoe UI"/>
              </a:rPr>
              <a:t>DISCLAIMER</a:t>
            </a:r>
          </a:p>
          <a:p>
            <a:pPr>
              <a:spcAft>
                <a:spcPts val="450"/>
              </a:spcAft>
            </a:pPr>
            <a:r>
              <a:rPr lang="en-AU" sz="750" dirty="0">
                <a:solidFill>
                  <a:srgbClr val="000000"/>
                </a:solidFill>
                <a:cs typeface="Segoe UI"/>
              </a:rPr>
              <a:t>This presentation has been prepared by a representative of Offshore</a:t>
            </a:r>
            <a:r>
              <a:rPr lang="en-AU" sz="750" baseline="0" dirty="0">
                <a:solidFill>
                  <a:srgbClr val="000000"/>
                </a:solidFill>
                <a:cs typeface="Segoe UI"/>
              </a:rPr>
              <a:t> Mining and Civil</a:t>
            </a:r>
            <a:r>
              <a:rPr lang="en-AU" sz="750" dirty="0">
                <a:solidFill>
                  <a:srgbClr val="000000"/>
                </a:solidFill>
                <a:cs typeface="Segoe UI"/>
              </a:rPr>
              <a:t>.</a:t>
            </a:r>
          </a:p>
          <a:p>
            <a:pPr>
              <a:spcAft>
                <a:spcPts val="450"/>
              </a:spcAft>
            </a:pPr>
            <a:r>
              <a:rPr lang="en-AU" sz="750" dirty="0">
                <a:solidFill>
                  <a:srgbClr val="000000"/>
                </a:solidFill>
                <a:cs typeface="Segoe UI"/>
              </a:rPr>
              <a:t>The presentation contains the professional and personal opinions of the presenter, which are given in good faith.  As such, opinions presented herein may not always necessarily reflect the position of Offshore</a:t>
            </a:r>
            <a:r>
              <a:rPr lang="en-AU" sz="750" baseline="0" dirty="0">
                <a:solidFill>
                  <a:srgbClr val="000000"/>
                </a:solidFill>
                <a:cs typeface="Segoe UI"/>
              </a:rPr>
              <a:t> Mining and Civil</a:t>
            </a:r>
            <a:r>
              <a:rPr lang="en-AU" sz="750" dirty="0">
                <a:solidFill>
                  <a:srgbClr val="000000"/>
                </a:solidFill>
                <a:cs typeface="Segoe UI"/>
              </a:rPr>
              <a:t> as a whole, its officers or executive.</a:t>
            </a:r>
          </a:p>
          <a:p>
            <a:pPr>
              <a:spcAft>
                <a:spcPts val="450"/>
              </a:spcAft>
            </a:pPr>
            <a:r>
              <a:rPr lang="en-AU" sz="750" dirty="0">
                <a:solidFill>
                  <a:srgbClr val="000000"/>
                </a:solidFill>
                <a:cs typeface="Segoe UI"/>
              </a:rPr>
              <a:t>Any forward-looking statements included in this presentation will involve subjective judgment and analysis and are subject to uncertainties, risks and contingencies—many of which are outside the control of, and may be unknown to, Offshore</a:t>
            </a:r>
            <a:r>
              <a:rPr lang="en-AU" sz="750" baseline="0" dirty="0">
                <a:solidFill>
                  <a:srgbClr val="000000"/>
                </a:solidFill>
                <a:cs typeface="Segoe UI"/>
              </a:rPr>
              <a:t> Mining and Civil</a:t>
            </a:r>
            <a:r>
              <a:rPr lang="en-AU" sz="750" dirty="0">
                <a:solidFill>
                  <a:srgbClr val="000000"/>
                </a:solidFill>
                <a:cs typeface="Segoe UI"/>
              </a:rPr>
              <a:t>.  </a:t>
            </a:r>
          </a:p>
          <a:p>
            <a:pPr>
              <a:spcAft>
                <a:spcPts val="450"/>
              </a:spcAft>
            </a:pPr>
            <a:r>
              <a:rPr lang="en-AU" sz="750" dirty="0">
                <a:solidFill>
                  <a:srgbClr val="000000"/>
                </a:solidFill>
                <a:cs typeface="Segoe UI"/>
              </a:rPr>
              <a:t>Offshore</a:t>
            </a:r>
            <a:r>
              <a:rPr lang="en-AU" sz="750" baseline="0" dirty="0">
                <a:solidFill>
                  <a:srgbClr val="000000"/>
                </a:solidFill>
                <a:cs typeface="Segoe UI"/>
              </a:rPr>
              <a:t> Mining and Civil</a:t>
            </a:r>
            <a:r>
              <a:rPr lang="en-AU" sz="750" dirty="0">
                <a:solidFill>
                  <a:srgbClr val="000000"/>
                </a:solidFill>
                <a:cs typeface="Segoe UI"/>
              </a:rPr>
              <a:t> and all associated entities and representatives make no representation or warranty as to the accuracy, reliability or completeness of information in this document and do not take responsibility for updating any information or correcting any error or omission that may become apparent after this document has been issued.</a:t>
            </a:r>
          </a:p>
          <a:p>
            <a:pPr>
              <a:spcAft>
                <a:spcPts val="450"/>
              </a:spcAft>
            </a:pPr>
            <a:r>
              <a:rPr lang="en-AU" sz="750" dirty="0">
                <a:solidFill>
                  <a:srgbClr val="000000"/>
                </a:solidFill>
                <a:cs typeface="Segoe UI"/>
              </a:rPr>
              <a:t>To the extent permitted by law, Offshore</a:t>
            </a:r>
            <a:r>
              <a:rPr lang="en-AU" sz="750" baseline="0" dirty="0">
                <a:solidFill>
                  <a:srgbClr val="000000"/>
                </a:solidFill>
                <a:cs typeface="Segoe UI"/>
              </a:rPr>
              <a:t> Mining and Civil</a:t>
            </a:r>
            <a:r>
              <a:rPr lang="en-AU" sz="750" dirty="0">
                <a:solidFill>
                  <a:srgbClr val="000000"/>
                </a:solidFill>
                <a:cs typeface="Segoe UI"/>
              </a:rPr>
              <a:t> and its officers, employees, related bodies and agents disclaim all liability—direct, indirect or consequential (and whether or not arising out of the negligence, default or lack of care of Offshore</a:t>
            </a:r>
            <a:r>
              <a:rPr lang="en-AU" sz="750" baseline="0" dirty="0">
                <a:solidFill>
                  <a:srgbClr val="000000"/>
                </a:solidFill>
                <a:cs typeface="Segoe UI"/>
              </a:rPr>
              <a:t> Mining and Civil</a:t>
            </a:r>
            <a:r>
              <a:rPr lang="en-AU" sz="750" dirty="0">
                <a:solidFill>
                  <a:srgbClr val="000000"/>
                </a:solidFill>
                <a:cs typeface="Segoe UI"/>
              </a:rPr>
              <a:t> and/or any of its agents)—for any loss or damage suffered by a recipient or other persons arising out of, or in connection with, any use or reliance on this presentation or information.</a:t>
            </a:r>
          </a:p>
        </p:txBody>
      </p:sp>
    </p:spTree>
    <p:extLst>
      <p:ext uri="{BB962C8B-B14F-4D97-AF65-F5344CB8AC3E}">
        <p14:creationId xmlns:p14="http://schemas.microsoft.com/office/powerpoint/2010/main" val="78907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dvisian Title no content">
    <p:spTree>
      <p:nvGrpSpPr>
        <p:cNvPr id="1" name=""/>
        <p:cNvGrpSpPr/>
        <p:nvPr/>
      </p:nvGrpSpPr>
      <p:grpSpPr>
        <a:xfrm>
          <a:off x="0" y="0"/>
          <a:ext cx="0" cy="0"/>
          <a:chOff x="0" y="0"/>
          <a:chExt cx="0" cy="0"/>
        </a:xfrm>
      </p:grpSpPr>
      <p:sp>
        <p:nvSpPr>
          <p:cNvPr id="2" name="Title 1"/>
          <p:cNvSpPr>
            <a:spLocks noGrp="1"/>
          </p:cNvSpPr>
          <p:nvPr>
            <p:ph type="title"/>
          </p:nvPr>
        </p:nvSpPr>
        <p:spPr>
          <a:xfrm>
            <a:off x="591257" y="63500"/>
            <a:ext cx="6102678" cy="1076408"/>
          </a:xfrm>
        </p:spPr>
        <p:txBody>
          <a:bodyPr>
            <a:normAutofit/>
          </a:bodyPr>
          <a:lstStyle>
            <a:lvl1pPr>
              <a:defRPr sz="1500"/>
            </a:lvl1pPr>
          </a:lstStyle>
          <a:p>
            <a:r>
              <a:rPr lang="en-US" dirty="0"/>
              <a:t>Click to edit Master title style</a:t>
            </a:r>
            <a:endParaRPr lang="en-AU" dirty="0"/>
          </a:p>
        </p:txBody>
      </p:sp>
      <p:sp>
        <p:nvSpPr>
          <p:cNvPr id="3" name="Slide Number Placeholder 2"/>
          <p:cNvSpPr>
            <a:spLocks noGrp="1"/>
          </p:cNvSpPr>
          <p:nvPr>
            <p:ph type="sldNum" sz="quarter" idx="10"/>
          </p:nvPr>
        </p:nvSpPr>
        <p:spPr>
          <a:xfrm>
            <a:off x="5282216" y="8700459"/>
            <a:ext cx="1333141" cy="261508"/>
          </a:xfrm>
        </p:spPr>
        <p:txBody>
          <a:bodyPr/>
          <a:lstStyle>
            <a:lvl1pPr>
              <a:defRPr>
                <a:solidFill>
                  <a:schemeClr val="bg1">
                    <a:lumMod val="50000"/>
                  </a:schemeClr>
                </a:solidFill>
              </a:defRPr>
            </a:lvl1pPr>
          </a:lstStyle>
          <a:p>
            <a:r>
              <a:rPr lang="en-AU" dirty="0">
                <a:solidFill>
                  <a:srgbClr val="FFFFFF">
                    <a:lumMod val="50000"/>
                  </a:srgbClr>
                </a:solidFill>
              </a:rPr>
              <a:t> </a:t>
            </a:r>
            <a:r>
              <a:rPr lang="en-AU" sz="600" dirty="0">
                <a:solidFill>
                  <a:srgbClr val="000000"/>
                </a:solidFill>
                <a:cs typeface="Segoe UI"/>
              </a:rPr>
              <a:t>Offshore</a:t>
            </a:r>
            <a:r>
              <a:rPr lang="en-AU" sz="600" baseline="0" dirty="0">
                <a:solidFill>
                  <a:srgbClr val="000000"/>
                </a:solidFill>
                <a:cs typeface="Segoe UI"/>
              </a:rPr>
              <a:t> Mining and Civil</a:t>
            </a:r>
            <a:r>
              <a:rPr lang="en-AU" dirty="0">
                <a:solidFill>
                  <a:srgbClr val="FFFFFF">
                    <a:lumMod val="50000"/>
                  </a:srgbClr>
                </a:solidFill>
              </a:rPr>
              <a:t>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4249358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dvisian 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36292983"/>
              </p:ext>
            </p:extLst>
          </p:nvPr>
        </p:nvGraphicFramePr>
        <p:xfrm>
          <a:off x="1192" y="2119"/>
          <a:ext cx="1190"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192" y="2119"/>
                        <a:ext cx="1190" cy="2116"/>
                      </a:xfrm>
                      <a:prstGeom prst="rect">
                        <a:avLst/>
                      </a:prstGeom>
                    </p:spPr>
                  </p:pic>
                </p:oleObj>
              </mc:Fallback>
            </mc:AlternateContent>
          </a:graphicData>
        </a:graphic>
      </p:graphicFrame>
      <p:sp>
        <p:nvSpPr>
          <p:cNvPr id="7" name="Title Placeholder 1"/>
          <p:cNvSpPr>
            <a:spLocks noGrp="1"/>
          </p:cNvSpPr>
          <p:nvPr>
            <p:ph type="title"/>
          </p:nvPr>
        </p:nvSpPr>
        <p:spPr>
          <a:xfrm>
            <a:off x="591257" y="63500"/>
            <a:ext cx="6102678" cy="1076408"/>
          </a:xfrm>
          <a:prstGeom prst="rect">
            <a:avLst/>
          </a:prstGeom>
        </p:spPr>
        <p:txBody>
          <a:bodyPr vert="horz" lIns="0" tIns="0" rIns="0" bIns="0" rtlCol="0" anchor="b" anchorCtr="0">
            <a:normAutofit/>
          </a:bodyPr>
          <a:lstStyle>
            <a:lvl1pPr rtl="0">
              <a:lnSpc>
                <a:spcPct val="100000"/>
              </a:lnSpc>
              <a:defRPr sz="1500" b="1">
                <a:solidFill>
                  <a:srgbClr val="162934"/>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450"/>
              </a:spcAft>
              <a:buNone/>
              <a:defRPr sz="1500">
                <a:latin typeface="Segoe UI" panose="020B0502040204020203" pitchFamily="34" charset="0"/>
                <a:ea typeface="Segoe UI" panose="020B0502040204020203" pitchFamily="34" charset="0"/>
                <a:cs typeface="Segoe UI" panose="020B0502040204020203" pitchFamily="34" charset="0"/>
              </a:defRPr>
            </a:lvl1pPr>
            <a:lvl2pPr marL="269068" indent="-269068" rtl="0">
              <a:spcAft>
                <a:spcPts val="450"/>
              </a:spcAft>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2pPr>
            <a:lvl3pPr marL="536945" indent="-267878" rtl="0">
              <a:spcAft>
                <a:spcPts val="450"/>
              </a:spcAft>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3pPr>
            <a:lvl4pPr marL="794108" indent="-257162" rtl="0">
              <a:spcAft>
                <a:spcPts val="450"/>
              </a:spcAft>
              <a:buClr>
                <a:schemeClr val="accent1"/>
              </a:buClr>
              <a:buSzPct val="90000"/>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4pPr>
            <a:lvl5pPr marL="1073891" indent="-267878">
              <a:spcAft>
                <a:spcPts val="1800"/>
              </a:spcAft>
              <a:buFont typeface="Arial" panose="020B0604020202020204" pitchFamily="34" charset="0"/>
              <a:buChar char="•"/>
              <a:defRPr sz="1500">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a:xfrm>
            <a:off x="5277777" y="8700459"/>
            <a:ext cx="1337579" cy="261508"/>
          </a:xfrm>
        </p:spPr>
        <p:txBody>
          <a:bodyPr/>
          <a:lstStyle>
            <a:lvl1pPr rtl="0">
              <a:defRPr>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sz="600" dirty="0">
                <a:solidFill>
                  <a:srgbClr val="000000"/>
                </a:solidFill>
                <a:cs typeface="Segoe UI"/>
              </a:rPr>
              <a:t>Offshore</a:t>
            </a:r>
            <a:r>
              <a:rPr lang="en-AU" sz="600" baseline="0" dirty="0">
                <a:solidFill>
                  <a:srgbClr val="000000"/>
                </a:solidFill>
                <a:cs typeface="Segoe UI"/>
              </a:rPr>
              <a:t> Mining and Civil </a:t>
            </a:r>
            <a:r>
              <a:rPr lang="en-AU" dirty="0">
                <a:solidFill>
                  <a:srgbClr val="FFFFFF">
                    <a:lumMod val="50000"/>
                  </a:srgbClr>
                </a:solidFill>
              </a:rPr>
              <a:t>/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6" name="Freeform 5"/>
          <p:cNvSpPr/>
          <p:nvPr userDrawn="1"/>
        </p:nvSpPr>
        <p:spPr>
          <a:xfrm>
            <a:off x="-7063" y="119498"/>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rgbClr val="FFFFFF"/>
              </a:solidFill>
            </a:endParaRPr>
          </a:p>
        </p:txBody>
      </p:sp>
      <p:sp>
        <p:nvSpPr>
          <p:cNvPr id="8" name="Parallelogram 11"/>
          <p:cNvSpPr/>
          <p:nvPr userDrawn="1"/>
        </p:nvSpPr>
        <p:spPr>
          <a:xfrm>
            <a:off x="-7065" y="69129"/>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rgbClr val="FFFFFF"/>
              </a:solidFill>
            </a:endParaRPr>
          </a:p>
        </p:txBody>
      </p:sp>
    </p:spTree>
    <p:extLst>
      <p:ext uri="{BB962C8B-B14F-4D97-AF65-F5344CB8AC3E}">
        <p14:creationId xmlns:p14="http://schemas.microsoft.com/office/powerpoint/2010/main" val="951971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Advisian title and text">
    <p:bg>
      <p:bgPr>
        <a:solidFill>
          <a:schemeClr val="tx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7" y="63500"/>
            <a:ext cx="6102678" cy="1076408"/>
          </a:xfrm>
          <a:prstGeom prst="rect">
            <a:avLst/>
          </a:prstGeom>
        </p:spPr>
        <p:txBody>
          <a:bodyPr vert="horz" lIns="0" tIns="0" rIns="0" bIns="0" rtlCol="0" anchor="b" anchorCtr="0">
            <a:normAutofit/>
          </a:bodyP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450"/>
              </a:spcAft>
              <a:buNone/>
              <a:defRPr sz="15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269068" indent="-269068" rtl="0">
              <a:spcAft>
                <a:spcPts val="450"/>
              </a:spcAft>
              <a:buClr>
                <a:schemeClr val="bg1"/>
              </a:buClr>
              <a:buFont typeface="Arial" panose="020B0604020202020204" pitchFamily="34" charset="0"/>
              <a:buChar char="•"/>
              <a:defRPr sz="15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marL="536945" indent="-267878" rtl="0">
              <a:spcAft>
                <a:spcPts val="450"/>
              </a:spcAft>
              <a:buClr>
                <a:schemeClr val="bg1"/>
              </a:buClr>
              <a:buFont typeface="Arial" panose="020B0604020202020204" pitchFamily="34" charset="0"/>
              <a:buChar char="-"/>
              <a:defRPr sz="15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marL="794108" indent="-257162" rtl="0">
              <a:spcAft>
                <a:spcPts val="450"/>
              </a:spcAft>
              <a:buClr>
                <a:schemeClr val="bg1"/>
              </a:buClr>
              <a:buSzPct val="90000"/>
              <a:buFont typeface="Arial" panose="020B0604020202020204" pitchFamily="34" charset="0"/>
              <a:buChar char="•"/>
              <a:defRPr sz="15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marL="1073891" indent="-267878">
              <a:spcAft>
                <a:spcPts val="1800"/>
              </a:spcAft>
              <a:buFont typeface="Arial" panose="020B0604020202020204" pitchFamily="34" charset="0"/>
              <a:buChar char="•"/>
              <a:defRPr sz="1500">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a:xfrm>
            <a:off x="5222291" y="8700459"/>
            <a:ext cx="1393065"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solidFill>
              </a:rPr>
              <a:t> </a:t>
            </a:r>
            <a:r>
              <a:rPr lang="en-AU" sz="600" dirty="0">
                <a:solidFill>
                  <a:srgbClr val="000000"/>
                </a:solidFill>
                <a:cs typeface="Segoe UI"/>
              </a:rPr>
              <a:t>Offshore</a:t>
            </a:r>
            <a:r>
              <a:rPr lang="en-AU" sz="600" baseline="0" dirty="0">
                <a:solidFill>
                  <a:srgbClr val="000000"/>
                </a:solidFill>
                <a:cs typeface="Segoe UI"/>
              </a:rPr>
              <a:t> Mining and Civil</a:t>
            </a:r>
            <a:r>
              <a:rPr lang="en-AU" dirty="0">
                <a:solidFill>
                  <a:srgbClr val="FFFFFF"/>
                </a:solidFill>
              </a:rPr>
              <a:t>  / </a:t>
            </a:r>
            <a:fld id="{CFD780AD-5876-4BCA-80DC-E96648A7269F}" type="slidenum">
              <a:rPr lang="en-AU" smtClean="0">
                <a:solidFill>
                  <a:srgbClr val="FFFFFF"/>
                </a:solidFill>
              </a:rPr>
              <a:pPr/>
              <a:t>‹#›</a:t>
            </a:fld>
            <a:endParaRPr lang="en-AU" dirty="0">
              <a:solidFill>
                <a:srgbClr val="FFFFFF"/>
              </a:solidFill>
            </a:endParaRPr>
          </a:p>
        </p:txBody>
      </p:sp>
      <p:sp>
        <p:nvSpPr>
          <p:cNvPr id="6" name="Freeform 5"/>
          <p:cNvSpPr/>
          <p:nvPr userDrawn="1"/>
        </p:nvSpPr>
        <p:spPr>
          <a:xfrm>
            <a:off x="-7063" y="119498"/>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rgbClr val="FFFFFF"/>
              </a:solidFill>
            </a:endParaRPr>
          </a:p>
        </p:txBody>
      </p:sp>
      <p:sp>
        <p:nvSpPr>
          <p:cNvPr id="8" name="Parallelogram 11"/>
          <p:cNvSpPr/>
          <p:nvPr userDrawn="1"/>
        </p:nvSpPr>
        <p:spPr>
          <a:xfrm>
            <a:off x="-7065" y="69129"/>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rgbClr val="FFFFFF"/>
              </a:solidFill>
            </a:endParaRPr>
          </a:p>
        </p:txBody>
      </p:sp>
    </p:spTree>
    <p:extLst>
      <p:ext uri="{BB962C8B-B14F-4D97-AF65-F5344CB8AC3E}">
        <p14:creationId xmlns:p14="http://schemas.microsoft.com/office/powerpoint/2010/main" val="66630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7" y="63500"/>
            <a:ext cx="6102678" cy="1076408"/>
          </a:xfrm>
          <a:prstGeom prst="rect">
            <a:avLst/>
          </a:prstGeom>
        </p:spPr>
        <p:txBody>
          <a:bodyPr vert="horz" lIns="0" tIns="0" rIns="0" bIns="0" rtlCol="0" anchor="b" anchorCtr="0">
            <a:normAutofit/>
          </a:bodyPr>
          <a:lstStyle>
            <a:lvl1pPr rtl="0">
              <a:defRPr b="1">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5" y="1787146"/>
            <a:ext cx="2883084" cy="6570927"/>
          </a:xfrm>
        </p:spPr>
        <p:txBody>
          <a:bodyPr>
            <a:normAutofit/>
          </a:bodyPr>
          <a:lstStyle>
            <a:lvl1pPr marL="0" indent="0" rtl="0">
              <a:buNone/>
              <a:defRPr sz="1500">
                <a:latin typeface="Segoe UI" panose="020B0502040204020203" pitchFamily="34" charset="0"/>
                <a:ea typeface="Segoe UI" panose="020B0502040204020203" pitchFamily="34" charset="0"/>
                <a:cs typeface="Segoe UI" panose="020B0502040204020203" pitchFamily="34" charset="0"/>
              </a:defRPr>
            </a:lvl1pPr>
            <a:lvl2pPr marL="270259" indent="-270259" rtl="0">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2pPr>
            <a:lvl3pPr marL="536945" indent="-266687" rtl="0">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3pPr>
            <a:lvl4pPr marL="808394" indent="-271450" rtl="0">
              <a:buClr>
                <a:schemeClr val="accent1"/>
              </a:buClr>
              <a:buSzPct val="90000"/>
              <a:buFont typeface="Arial" panose="020B0604020202020204" pitchFamily="34" charset="0"/>
              <a:buChar char="•"/>
              <a:tabLst/>
              <a:defRPr sz="1500">
                <a:latin typeface="Segoe UI" panose="020B0502040204020203" pitchFamily="34" charset="0"/>
                <a:ea typeface="Segoe UI" panose="020B0502040204020203" pitchFamily="34" charset="0"/>
                <a:cs typeface="Segoe UI" panose="020B0502040204020203" pitchFamily="34" charset="0"/>
              </a:defRPr>
            </a:lvl4pPr>
            <a:lvl5pPr marL="1075081" indent="-266687">
              <a:defRPr sz="1500">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quarter" idx="11"/>
          </p:nvPr>
        </p:nvSpPr>
        <p:spPr>
          <a:xfrm>
            <a:off x="3740363" y="1787146"/>
            <a:ext cx="2883084" cy="6570927"/>
          </a:xfrm>
        </p:spPr>
        <p:txBody>
          <a:bodyPr>
            <a:normAutofit/>
          </a:bodyPr>
          <a:lstStyle>
            <a:lvl1pPr marL="0" indent="0" rtl="0">
              <a:buNone/>
              <a:defRPr sz="1500">
                <a:latin typeface="Segoe UI" panose="020B0502040204020203" pitchFamily="34" charset="0"/>
                <a:ea typeface="Segoe UI" panose="020B0502040204020203" pitchFamily="34" charset="0"/>
                <a:cs typeface="Segoe UI" panose="020B0502040204020203" pitchFamily="34" charset="0"/>
              </a:defRPr>
            </a:lvl1pPr>
            <a:lvl2pPr marL="270259" indent="-270259" rtl="0">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2pPr>
            <a:lvl3pPr marL="536945" indent="-266687" rtl="0">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3pPr>
            <a:lvl4pPr marL="808394" indent="-271450" rtl="0">
              <a:buClr>
                <a:schemeClr val="accent1"/>
              </a:buClr>
              <a:buSzPct val="90000"/>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4pPr>
            <a:lvl5pPr marL="1078652" indent="-270259">
              <a:defRPr sz="1500">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2"/>
          </p:nvPr>
        </p:nvSpPr>
        <p:spPr>
          <a:xfrm>
            <a:off x="5271117" y="8700459"/>
            <a:ext cx="1344238" cy="261508"/>
          </a:xfrm>
        </p:spPr>
        <p:txBody>
          <a:bodyPr/>
          <a:lstStyle>
            <a:lvl1pPr>
              <a:defRPr>
                <a:solidFill>
                  <a:schemeClr val="bg1">
                    <a:lumMod val="50000"/>
                  </a:schemeClr>
                </a:solidFill>
              </a:defRPr>
            </a:lvl1pPr>
          </a:lstStyle>
          <a:p>
            <a:r>
              <a:rPr lang="en-AU" dirty="0">
                <a:solidFill>
                  <a:srgbClr val="FFFFFF">
                    <a:lumMod val="50000"/>
                  </a:srgbClr>
                </a:solidFill>
              </a:rPr>
              <a:t> </a:t>
            </a:r>
            <a:r>
              <a:rPr lang="en-AU" sz="600" dirty="0">
                <a:solidFill>
                  <a:srgbClr val="000000"/>
                </a:solidFill>
                <a:cs typeface="Segoe UI"/>
              </a:rPr>
              <a:t>Offshore</a:t>
            </a:r>
            <a:r>
              <a:rPr lang="en-AU" sz="600" baseline="0" dirty="0">
                <a:solidFill>
                  <a:srgbClr val="000000"/>
                </a:solidFill>
                <a:cs typeface="Segoe UI"/>
              </a:rPr>
              <a:t> Mining and Civil</a:t>
            </a:r>
            <a:r>
              <a:rPr lang="en-AU" dirty="0">
                <a:solidFill>
                  <a:srgbClr val="FFFFFF">
                    <a:lumMod val="50000"/>
                  </a:srgbClr>
                </a:solidFill>
              </a:rPr>
              <a:t>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8" name="Freeform 7"/>
          <p:cNvSpPr/>
          <p:nvPr userDrawn="1"/>
        </p:nvSpPr>
        <p:spPr>
          <a:xfrm>
            <a:off x="-7063" y="119498"/>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rgbClr val="FFFFFF"/>
              </a:solidFill>
            </a:endParaRPr>
          </a:p>
        </p:txBody>
      </p:sp>
      <p:sp>
        <p:nvSpPr>
          <p:cNvPr id="9" name="Parallelogram 11"/>
          <p:cNvSpPr/>
          <p:nvPr userDrawn="1"/>
        </p:nvSpPr>
        <p:spPr>
          <a:xfrm>
            <a:off x="-7065" y="69129"/>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rgbClr val="FFFFFF"/>
              </a:solidFill>
            </a:endParaRPr>
          </a:p>
        </p:txBody>
      </p:sp>
    </p:spTree>
    <p:extLst>
      <p:ext uri="{BB962C8B-B14F-4D97-AF65-F5344CB8AC3E}">
        <p14:creationId xmlns:p14="http://schemas.microsoft.com/office/powerpoint/2010/main" val="312457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dvisian 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1257" y="-1"/>
            <a:ext cx="6102678" cy="1139908"/>
          </a:xfrm>
        </p:spPr>
        <p:txBody>
          <a:bodyPr/>
          <a:lstStyle>
            <a:lvl1pPr>
              <a:defRPr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endParaRPr lang="en-AU" dirty="0"/>
          </a:p>
        </p:txBody>
      </p:sp>
      <p:sp>
        <p:nvSpPr>
          <p:cNvPr id="8" name="Picture Placeholder 5"/>
          <p:cNvSpPr>
            <a:spLocks noGrp="1"/>
          </p:cNvSpPr>
          <p:nvPr>
            <p:ph type="pic" sz="quarter" idx="14"/>
          </p:nvPr>
        </p:nvSpPr>
        <p:spPr>
          <a:xfrm>
            <a:off x="-7144" y="1788585"/>
            <a:ext cx="2477217" cy="3610187"/>
          </a:xfrm>
          <a:custGeom>
            <a:avLst/>
            <a:gdLst>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5010231 w 5560752"/>
              <a:gd name="connsiteY17" fmla="*/ 2899066 h 6868800"/>
              <a:gd name="connsiteX18" fmla="*/ 4091146 w 5560752"/>
              <a:gd name="connsiteY18" fmla="*/ 5064754 h 6868800"/>
              <a:gd name="connsiteX19" fmla="*/ 3981817 w 5560752"/>
              <a:gd name="connsiteY19" fmla="*/ 5064753 h 6868800"/>
              <a:gd name="connsiteX20" fmla="*/ 3313099 w 5560752"/>
              <a:gd name="connsiteY20" fmla="*/ 3306692 h 6868800"/>
              <a:gd name="connsiteX21" fmla="*/ 2652829 w 5560752"/>
              <a:gd name="connsiteY21" fmla="*/ 3306692 h 6868800"/>
              <a:gd name="connsiteX22" fmla="*/ 2828495 w 5560752"/>
              <a:gd name="connsiteY22" fmla="*/ 2897733 h 6868800"/>
              <a:gd name="connsiteX23" fmla="*/ 0 w 5560752"/>
              <a:gd name="connsiteY23" fmla="*/ 0 h 6868800"/>
              <a:gd name="connsiteX24" fmla="*/ 5560752 w 5560752"/>
              <a:gd name="connsiteY24" fmla="*/ 0 h 6868800"/>
              <a:gd name="connsiteX25" fmla="*/ 5560752 w 5560752"/>
              <a:gd name="connsiteY25" fmla="*/ 6868800 h 6868800"/>
              <a:gd name="connsiteX26" fmla="*/ 2621885 w 5560752"/>
              <a:gd name="connsiteY26" fmla="*/ 6868800 h 6868800"/>
              <a:gd name="connsiteX27" fmla="*/ 2418035 w 5560752"/>
              <a:gd name="connsiteY27" fmla="*/ 6334754 h 6868800"/>
              <a:gd name="connsiteX28" fmla="*/ 4464207 w 5560752"/>
              <a:gd name="connsiteY28" fmla="*/ 6332960 h 6868800"/>
              <a:gd name="connsiteX29" fmla="*/ 3996958 w 5560752"/>
              <a:gd name="connsiteY29" fmla="*/ 5104559 h 6868800"/>
              <a:gd name="connsiteX30" fmla="*/ 4119221 w 5560752"/>
              <a:gd name="connsiteY30" fmla="*/ 5104563 h 6868800"/>
              <a:gd name="connsiteX31" fmla="*/ 2794373 w 5560752"/>
              <a:gd name="connsiteY31" fmla="*/ 2860946 h 6868800"/>
              <a:gd name="connsiteX32" fmla="*/ 2604149 w 5560752"/>
              <a:gd name="connsiteY32" fmla="*/ 3306692 h 6868800"/>
              <a:gd name="connsiteX33" fmla="*/ 1262196 w 5560752"/>
              <a:gd name="connsiteY33" fmla="*/ 3306692 h 6868800"/>
              <a:gd name="connsiteX34" fmla="*/ 0 w 5560752"/>
              <a:gd name="connsiteY34"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4119221 w 5560752"/>
              <a:gd name="connsiteY29" fmla="*/ 5104563 h 6868800"/>
              <a:gd name="connsiteX30" fmla="*/ 2794373 w 5560752"/>
              <a:gd name="connsiteY30" fmla="*/ 2860946 h 6868800"/>
              <a:gd name="connsiteX31" fmla="*/ 2604149 w 5560752"/>
              <a:gd name="connsiteY31" fmla="*/ 3306692 h 6868800"/>
              <a:gd name="connsiteX32" fmla="*/ 1262196 w 5560752"/>
              <a:gd name="connsiteY32" fmla="*/ 3306692 h 6868800"/>
              <a:gd name="connsiteX33" fmla="*/ 0 w 5560752"/>
              <a:gd name="connsiteY33"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2794373 w 5560752"/>
              <a:gd name="connsiteY29" fmla="*/ 2860946 h 6868800"/>
              <a:gd name="connsiteX30" fmla="*/ 2604149 w 5560752"/>
              <a:gd name="connsiteY30" fmla="*/ 3306692 h 6868800"/>
              <a:gd name="connsiteX31" fmla="*/ 1262196 w 5560752"/>
              <a:gd name="connsiteY31" fmla="*/ 3306692 h 6868800"/>
              <a:gd name="connsiteX32" fmla="*/ 0 w 5560752"/>
              <a:gd name="connsiteY32"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2794373 w 5560752"/>
              <a:gd name="connsiteY28" fmla="*/ 2860946 h 6868800"/>
              <a:gd name="connsiteX29" fmla="*/ 2604149 w 5560752"/>
              <a:gd name="connsiteY29" fmla="*/ 3306692 h 6868800"/>
              <a:gd name="connsiteX30" fmla="*/ 1262196 w 5560752"/>
              <a:gd name="connsiteY30" fmla="*/ 3306692 h 6868800"/>
              <a:gd name="connsiteX31" fmla="*/ 0 w 5560752"/>
              <a:gd name="connsiteY31"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981817 w 5560752"/>
              <a:gd name="connsiteY17" fmla="*/ 5064753 h 6868800"/>
              <a:gd name="connsiteX18" fmla="*/ 3313099 w 5560752"/>
              <a:gd name="connsiteY18" fmla="*/ 3306692 h 6868800"/>
              <a:gd name="connsiteX19" fmla="*/ 2652829 w 5560752"/>
              <a:gd name="connsiteY19" fmla="*/ 3306692 h 6868800"/>
              <a:gd name="connsiteX20" fmla="*/ 2828495 w 5560752"/>
              <a:gd name="connsiteY20" fmla="*/ 2897733 h 6868800"/>
              <a:gd name="connsiteX21" fmla="*/ 0 w 5560752"/>
              <a:gd name="connsiteY21" fmla="*/ 0 h 6868800"/>
              <a:gd name="connsiteX22" fmla="*/ 5560752 w 5560752"/>
              <a:gd name="connsiteY22" fmla="*/ 0 h 6868800"/>
              <a:gd name="connsiteX23" fmla="*/ 5560752 w 5560752"/>
              <a:gd name="connsiteY23" fmla="*/ 6868800 h 6868800"/>
              <a:gd name="connsiteX24" fmla="*/ 2621885 w 5560752"/>
              <a:gd name="connsiteY24" fmla="*/ 6868800 h 6868800"/>
              <a:gd name="connsiteX25" fmla="*/ 2418035 w 5560752"/>
              <a:gd name="connsiteY25" fmla="*/ 6334754 h 6868800"/>
              <a:gd name="connsiteX26" fmla="*/ 4464207 w 5560752"/>
              <a:gd name="connsiteY26" fmla="*/ 6332960 h 6868800"/>
              <a:gd name="connsiteX27" fmla="*/ 2794373 w 5560752"/>
              <a:gd name="connsiteY27" fmla="*/ 2860946 h 6868800"/>
              <a:gd name="connsiteX28" fmla="*/ 2604149 w 5560752"/>
              <a:gd name="connsiteY28" fmla="*/ 3306692 h 6868800"/>
              <a:gd name="connsiteX29" fmla="*/ 1262196 w 5560752"/>
              <a:gd name="connsiteY29" fmla="*/ 3306692 h 6868800"/>
              <a:gd name="connsiteX30" fmla="*/ 0 w 5560752"/>
              <a:gd name="connsiteY30"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313099 w 5560752"/>
              <a:gd name="connsiteY17" fmla="*/ 3306692 h 6868800"/>
              <a:gd name="connsiteX18" fmla="*/ 2652829 w 5560752"/>
              <a:gd name="connsiteY18" fmla="*/ 3306692 h 6868800"/>
              <a:gd name="connsiteX19" fmla="*/ 2828495 w 5560752"/>
              <a:gd name="connsiteY19" fmla="*/ 2897733 h 6868800"/>
              <a:gd name="connsiteX20" fmla="*/ 0 w 5560752"/>
              <a:gd name="connsiteY20" fmla="*/ 0 h 6868800"/>
              <a:gd name="connsiteX21" fmla="*/ 5560752 w 5560752"/>
              <a:gd name="connsiteY21" fmla="*/ 0 h 6868800"/>
              <a:gd name="connsiteX22" fmla="*/ 5560752 w 5560752"/>
              <a:gd name="connsiteY22" fmla="*/ 6868800 h 6868800"/>
              <a:gd name="connsiteX23" fmla="*/ 2621885 w 5560752"/>
              <a:gd name="connsiteY23" fmla="*/ 6868800 h 6868800"/>
              <a:gd name="connsiteX24" fmla="*/ 2418035 w 5560752"/>
              <a:gd name="connsiteY24" fmla="*/ 6334754 h 6868800"/>
              <a:gd name="connsiteX25" fmla="*/ 4464207 w 5560752"/>
              <a:gd name="connsiteY25" fmla="*/ 6332960 h 6868800"/>
              <a:gd name="connsiteX26" fmla="*/ 2794373 w 5560752"/>
              <a:gd name="connsiteY26" fmla="*/ 2860946 h 6868800"/>
              <a:gd name="connsiteX27" fmla="*/ 2604149 w 5560752"/>
              <a:gd name="connsiteY27" fmla="*/ 3306692 h 6868800"/>
              <a:gd name="connsiteX28" fmla="*/ 1262196 w 5560752"/>
              <a:gd name="connsiteY28" fmla="*/ 3306692 h 6868800"/>
              <a:gd name="connsiteX29" fmla="*/ 0 w 5560752"/>
              <a:gd name="connsiteY29"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4464207 w 5560752"/>
              <a:gd name="connsiteY24" fmla="*/ 6332960 h 6868800"/>
              <a:gd name="connsiteX25" fmla="*/ 2794373 w 5560752"/>
              <a:gd name="connsiteY25" fmla="*/ 2860946 h 6868800"/>
              <a:gd name="connsiteX26" fmla="*/ 2604149 w 5560752"/>
              <a:gd name="connsiteY26" fmla="*/ 3306692 h 6868800"/>
              <a:gd name="connsiteX27" fmla="*/ 1262196 w 5560752"/>
              <a:gd name="connsiteY27" fmla="*/ 3306692 h 6868800"/>
              <a:gd name="connsiteX28" fmla="*/ 0 w 5560752"/>
              <a:gd name="connsiteY28"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2794373 w 5560752"/>
              <a:gd name="connsiteY24" fmla="*/ 2860946 h 6868800"/>
              <a:gd name="connsiteX25" fmla="*/ 2604149 w 5560752"/>
              <a:gd name="connsiteY25" fmla="*/ 3306692 h 6868800"/>
              <a:gd name="connsiteX26" fmla="*/ 1262196 w 5560752"/>
              <a:gd name="connsiteY26" fmla="*/ 3306692 h 6868800"/>
              <a:gd name="connsiteX27" fmla="*/ 0 w 5560752"/>
              <a:gd name="connsiteY27"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3653877 w 5560752"/>
              <a:gd name="connsiteY7" fmla="*/ 5064749 h 6868800"/>
              <a:gd name="connsiteX8" fmla="*/ 1934805 w 5560752"/>
              <a:gd name="connsiteY8" fmla="*/ 5064727 h 6868800"/>
              <a:gd name="connsiteX9" fmla="*/ 1917376 w 5560752"/>
              <a:gd name="connsiteY9" fmla="*/ 5018866 h 6868800"/>
              <a:gd name="connsiteX10" fmla="*/ 2523173 w 5560752"/>
              <a:gd name="connsiteY10" fmla="*/ 3608540 h 6868800"/>
              <a:gd name="connsiteX11" fmla="*/ 1381398 w 5560752"/>
              <a:gd name="connsiteY11" fmla="*/ 3608540 h 6868800"/>
              <a:gd name="connsiteX12" fmla="*/ 2475335 w 5560752"/>
              <a:gd name="connsiteY12" fmla="*/ 3608540 h 6868800"/>
              <a:gd name="connsiteX13" fmla="*/ 1896695 w 5560752"/>
              <a:gd name="connsiteY13" fmla="*/ 4964449 h 6868800"/>
              <a:gd name="connsiteX14" fmla="*/ 1381398 w 5560752"/>
              <a:gd name="connsiteY14" fmla="*/ 3608540 h 6868800"/>
              <a:gd name="connsiteX15" fmla="*/ 2828495 w 5560752"/>
              <a:gd name="connsiteY15" fmla="*/ 2897733 h 6868800"/>
              <a:gd name="connsiteX16" fmla="*/ 2652829 w 5560752"/>
              <a:gd name="connsiteY16" fmla="*/ 3306692 h 6868800"/>
              <a:gd name="connsiteX17" fmla="*/ 2828495 w 5560752"/>
              <a:gd name="connsiteY17" fmla="*/ 2897733 h 6868800"/>
              <a:gd name="connsiteX18" fmla="*/ 0 w 5560752"/>
              <a:gd name="connsiteY18" fmla="*/ 0 h 6868800"/>
              <a:gd name="connsiteX19" fmla="*/ 5560752 w 5560752"/>
              <a:gd name="connsiteY19" fmla="*/ 0 h 6868800"/>
              <a:gd name="connsiteX20" fmla="*/ 5560752 w 5560752"/>
              <a:gd name="connsiteY20" fmla="*/ 6868800 h 6868800"/>
              <a:gd name="connsiteX21" fmla="*/ 2621885 w 5560752"/>
              <a:gd name="connsiteY21" fmla="*/ 6868800 h 6868800"/>
              <a:gd name="connsiteX22" fmla="*/ 2418035 w 5560752"/>
              <a:gd name="connsiteY22" fmla="*/ 6334754 h 6868800"/>
              <a:gd name="connsiteX23" fmla="*/ 2794373 w 5560752"/>
              <a:gd name="connsiteY23" fmla="*/ 2860946 h 6868800"/>
              <a:gd name="connsiteX24" fmla="*/ 2604149 w 5560752"/>
              <a:gd name="connsiteY24" fmla="*/ 3306692 h 6868800"/>
              <a:gd name="connsiteX25" fmla="*/ 1262196 w 5560752"/>
              <a:gd name="connsiteY25" fmla="*/ 3306692 h 6868800"/>
              <a:gd name="connsiteX26" fmla="*/ 0 w 5560752"/>
              <a:gd name="connsiteY26"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1934805 w 5560752"/>
              <a:gd name="connsiteY7" fmla="*/ 5064727 h 6868800"/>
              <a:gd name="connsiteX8" fmla="*/ 1917376 w 5560752"/>
              <a:gd name="connsiteY8" fmla="*/ 5018866 h 6868800"/>
              <a:gd name="connsiteX9" fmla="*/ 2523173 w 5560752"/>
              <a:gd name="connsiteY9" fmla="*/ 3608540 h 6868800"/>
              <a:gd name="connsiteX10" fmla="*/ 1381398 w 5560752"/>
              <a:gd name="connsiteY10" fmla="*/ 3608540 h 6868800"/>
              <a:gd name="connsiteX11" fmla="*/ 2475335 w 5560752"/>
              <a:gd name="connsiteY11" fmla="*/ 3608540 h 6868800"/>
              <a:gd name="connsiteX12" fmla="*/ 1896695 w 5560752"/>
              <a:gd name="connsiteY12" fmla="*/ 4964449 h 6868800"/>
              <a:gd name="connsiteX13" fmla="*/ 1381398 w 5560752"/>
              <a:gd name="connsiteY13" fmla="*/ 3608540 h 6868800"/>
              <a:gd name="connsiteX14" fmla="*/ 2828495 w 5560752"/>
              <a:gd name="connsiteY14" fmla="*/ 2897733 h 6868800"/>
              <a:gd name="connsiteX15" fmla="*/ 2652829 w 5560752"/>
              <a:gd name="connsiteY15" fmla="*/ 3306692 h 6868800"/>
              <a:gd name="connsiteX16" fmla="*/ 2828495 w 5560752"/>
              <a:gd name="connsiteY16" fmla="*/ 2897733 h 6868800"/>
              <a:gd name="connsiteX17" fmla="*/ 0 w 5560752"/>
              <a:gd name="connsiteY17" fmla="*/ 0 h 6868800"/>
              <a:gd name="connsiteX18" fmla="*/ 5560752 w 5560752"/>
              <a:gd name="connsiteY18" fmla="*/ 0 h 6868800"/>
              <a:gd name="connsiteX19" fmla="*/ 5560752 w 5560752"/>
              <a:gd name="connsiteY19" fmla="*/ 6868800 h 6868800"/>
              <a:gd name="connsiteX20" fmla="*/ 2621885 w 5560752"/>
              <a:gd name="connsiteY20" fmla="*/ 6868800 h 6868800"/>
              <a:gd name="connsiteX21" fmla="*/ 2418035 w 5560752"/>
              <a:gd name="connsiteY21" fmla="*/ 6334754 h 6868800"/>
              <a:gd name="connsiteX22" fmla="*/ 2794373 w 5560752"/>
              <a:gd name="connsiteY22" fmla="*/ 2860946 h 6868800"/>
              <a:gd name="connsiteX23" fmla="*/ 2604149 w 5560752"/>
              <a:gd name="connsiteY23" fmla="*/ 3306692 h 6868800"/>
              <a:gd name="connsiteX24" fmla="*/ 1262196 w 5560752"/>
              <a:gd name="connsiteY24" fmla="*/ 3306692 h 6868800"/>
              <a:gd name="connsiteX25" fmla="*/ 0 w 5560752"/>
              <a:gd name="connsiteY25"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3100461 w 5560752"/>
              <a:gd name="connsiteY5" fmla="*/ 3608540 h 6868800"/>
              <a:gd name="connsiteX6" fmla="*/ 1934805 w 5560752"/>
              <a:gd name="connsiteY6" fmla="*/ 5064727 h 6868800"/>
              <a:gd name="connsiteX7" fmla="*/ 1917376 w 5560752"/>
              <a:gd name="connsiteY7" fmla="*/ 5018866 h 6868800"/>
              <a:gd name="connsiteX8" fmla="*/ 2523173 w 5560752"/>
              <a:gd name="connsiteY8" fmla="*/ 3608540 h 6868800"/>
              <a:gd name="connsiteX9" fmla="*/ 1381398 w 5560752"/>
              <a:gd name="connsiteY9" fmla="*/ 3608540 h 6868800"/>
              <a:gd name="connsiteX10" fmla="*/ 2475335 w 5560752"/>
              <a:gd name="connsiteY10" fmla="*/ 3608540 h 6868800"/>
              <a:gd name="connsiteX11" fmla="*/ 1896695 w 5560752"/>
              <a:gd name="connsiteY11" fmla="*/ 4964449 h 6868800"/>
              <a:gd name="connsiteX12" fmla="*/ 1381398 w 5560752"/>
              <a:gd name="connsiteY12" fmla="*/ 3608540 h 6868800"/>
              <a:gd name="connsiteX13" fmla="*/ 2828495 w 5560752"/>
              <a:gd name="connsiteY13" fmla="*/ 2897733 h 6868800"/>
              <a:gd name="connsiteX14" fmla="*/ 2652829 w 5560752"/>
              <a:gd name="connsiteY14" fmla="*/ 3306692 h 6868800"/>
              <a:gd name="connsiteX15" fmla="*/ 2828495 w 5560752"/>
              <a:gd name="connsiteY15" fmla="*/ 2897733 h 6868800"/>
              <a:gd name="connsiteX16" fmla="*/ 0 w 5560752"/>
              <a:gd name="connsiteY16" fmla="*/ 0 h 6868800"/>
              <a:gd name="connsiteX17" fmla="*/ 5560752 w 5560752"/>
              <a:gd name="connsiteY17" fmla="*/ 0 h 6868800"/>
              <a:gd name="connsiteX18" fmla="*/ 5560752 w 5560752"/>
              <a:gd name="connsiteY18" fmla="*/ 6868800 h 6868800"/>
              <a:gd name="connsiteX19" fmla="*/ 2621885 w 5560752"/>
              <a:gd name="connsiteY19" fmla="*/ 6868800 h 6868800"/>
              <a:gd name="connsiteX20" fmla="*/ 2418035 w 5560752"/>
              <a:gd name="connsiteY20" fmla="*/ 6334754 h 6868800"/>
              <a:gd name="connsiteX21" fmla="*/ 2794373 w 5560752"/>
              <a:gd name="connsiteY21" fmla="*/ 2860946 h 6868800"/>
              <a:gd name="connsiteX22" fmla="*/ 2604149 w 5560752"/>
              <a:gd name="connsiteY22" fmla="*/ 3306692 h 6868800"/>
              <a:gd name="connsiteX23" fmla="*/ 1262196 w 5560752"/>
              <a:gd name="connsiteY23" fmla="*/ 3306692 h 6868800"/>
              <a:gd name="connsiteX24" fmla="*/ 0 w 5560752"/>
              <a:gd name="connsiteY24"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1934805 w 5560752"/>
              <a:gd name="connsiteY5" fmla="*/ 5064727 h 6868800"/>
              <a:gd name="connsiteX6" fmla="*/ 1917376 w 5560752"/>
              <a:gd name="connsiteY6" fmla="*/ 5018866 h 6868800"/>
              <a:gd name="connsiteX7" fmla="*/ 2523173 w 5560752"/>
              <a:gd name="connsiteY7" fmla="*/ 3608540 h 6868800"/>
              <a:gd name="connsiteX8" fmla="*/ 1381398 w 5560752"/>
              <a:gd name="connsiteY8" fmla="*/ 3608540 h 6868800"/>
              <a:gd name="connsiteX9" fmla="*/ 2475335 w 5560752"/>
              <a:gd name="connsiteY9" fmla="*/ 3608540 h 6868800"/>
              <a:gd name="connsiteX10" fmla="*/ 1896695 w 5560752"/>
              <a:gd name="connsiteY10" fmla="*/ 4964449 h 6868800"/>
              <a:gd name="connsiteX11" fmla="*/ 1381398 w 5560752"/>
              <a:gd name="connsiteY11" fmla="*/ 3608540 h 6868800"/>
              <a:gd name="connsiteX12" fmla="*/ 2828495 w 5560752"/>
              <a:gd name="connsiteY12" fmla="*/ 2897733 h 6868800"/>
              <a:gd name="connsiteX13" fmla="*/ 2652829 w 5560752"/>
              <a:gd name="connsiteY13" fmla="*/ 3306692 h 6868800"/>
              <a:gd name="connsiteX14" fmla="*/ 2828495 w 5560752"/>
              <a:gd name="connsiteY14" fmla="*/ 2897733 h 6868800"/>
              <a:gd name="connsiteX15" fmla="*/ 0 w 5560752"/>
              <a:gd name="connsiteY15" fmla="*/ 0 h 6868800"/>
              <a:gd name="connsiteX16" fmla="*/ 5560752 w 5560752"/>
              <a:gd name="connsiteY16" fmla="*/ 0 h 6868800"/>
              <a:gd name="connsiteX17" fmla="*/ 5560752 w 5560752"/>
              <a:gd name="connsiteY17" fmla="*/ 6868800 h 6868800"/>
              <a:gd name="connsiteX18" fmla="*/ 2621885 w 5560752"/>
              <a:gd name="connsiteY18" fmla="*/ 6868800 h 6868800"/>
              <a:gd name="connsiteX19" fmla="*/ 2418035 w 5560752"/>
              <a:gd name="connsiteY19" fmla="*/ 6334754 h 6868800"/>
              <a:gd name="connsiteX20" fmla="*/ 2794373 w 5560752"/>
              <a:gd name="connsiteY20" fmla="*/ 2860946 h 6868800"/>
              <a:gd name="connsiteX21" fmla="*/ 2604149 w 5560752"/>
              <a:gd name="connsiteY21" fmla="*/ 3306692 h 6868800"/>
              <a:gd name="connsiteX22" fmla="*/ 1262196 w 5560752"/>
              <a:gd name="connsiteY22" fmla="*/ 3306692 h 6868800"/>
              <a:gd name="connsiteX23" fmla="*/ 0 w 5560752"/>
              <a:gd name="connsiteY23"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2828495 w 5560752"/>
              <a:gd name="connsiteY11" fmla="*/ 2897733 h 6868800"/>
              <a:gd name="connsiteX12" fmla="*/ 2652829 w 5560752"/>
              <a:gd name="connsiteY12" fmla="*/ 3306692 h 6868800"/>
              <a:gd name="connsiteX13" fmla="*/ 2828495 w 5560752"/>
              <a:gd name="connsiteY13" fmla="*/ 2897733 h 6868800"/>
              <a:gd name="connsiteX14" fmla="*/ 0 w 5560752"/>
              <a:gd name="connsiteY14" fmla="*/ 0 h 6868800"/>
              <a:gd name="connsiteX15" fmla="*/ 5560752 w 5560752"/>
              <a:gd name="connsiteY15" fmla="*/ 0 h 6868800"/>
              <a:gd name="connsiteX16" fmla="*/ 5560752 w 5560752"/>
              <a:gd name="connsiteY16" fmla="*/ 6868800 h 6868800"/>
              <a:gd name="connsiteX17" fmla="*/ 2621885 w 5560752"/>
              <a:gd name="connsiteY17" fmla="*/ 6868800 h 6868800"/>
              <a:gd name="connsiteX18" fmla="*/ 2418035 w 5560752"/>
              <a:gd name="connsiteY18" fmla="*/ 6334754 h 6868800"/>
              <a:gd name="connsiteX19" fmla="*/ 2794373 w 5560752"/>
              <a:gd name="connsiteY19" fmla="*/ 2860946 h 6868800"/>
              <a:gd name="connsiteX20" fmla="*/ 2604149 w 5560752"/>
              <a:gd name="connsiteY20" fmla="*/ 3306692 h 6868800"/>
              <a:gd name="connsiteX21" fmla="*/ 1262196 w 5560752"/>
              <a:gd name="connsiteY21" fmla="*/ 3306692 h 6868800"/>
              <a:gd name="connsiteX22" fmla="*/ 0 w 5560752"/>
              <a:gd name="connsiteY22"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2461592 w 5560752"/>
              <a:gd name="connsiteY2" fmla="*/ 5073845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1949917 w 5560752"/>
              <a:gd name="connsiteY2" fmla="*/ 5104493 h 6868800"/>
              <a:gd name="connsiteX3" fmla="*/ 1917376 w 5560752"/>
              <a:gd name="connsiteY3" fmla="*/ 5018866 h 6868800"/>
              <a:gd name="connsiteX4" fmla="*/ 1934805 w 5560752"/>
              <a:gd name="connsiteY4" fmla="*/ 5064727 h 6868800"/>
              <a:gd name="connsiteX5" fmla="*/ 1917376 w 5560752"/>
              <a:gd name="connsiteY5" fmla="*/ 5018866 h 6868800"/>
              <a:gd name="connsiteX6" fmla="*/ 1381398 w 5560752"/>
              <a:gd name="connsiteY6" fmla="*/ 3608540 h 6868800"/>
              <a:gd name="connsiteX7" fmla="*/ 2475335 w 5560752"/>
              <a:gd name="connsiteY7" fmla="*/ 3608540 h 6868800"/>
              <a:gd name="connsiteX8" fmla="*/ 1896695 w 5560752"/>
              <a:gd name="connsiteY8" fmla="*/ 4964449 h 6868800"/>
              <a:gd name="connsiteX9" fmla="*/ 1381398 w 5560752"/>
              <a:gd name="connsiteY9" fmla="*/ 3608540 h 6868800"/>
              <a:gd name="connsiteX10" fmla="*/ 0 w 5560752"/>
              <a:gd name="connsiteY10" fmla="*/ 0 h 6868800"/>
              <a:gd name="connsiteX11" fmla="*/ 5560752 w 5560752"/>
              <a:gd name="connsiteY11" fmla="*/ 0 h 6868800"/>
              <a:gd name="connsiteX12" fmla="*/ 5560752 w 5560752"/>
              <a:gd name="connsiteY12" fmla="*/ 6868800 h 6868800"/>
              <a:gd name="connsiteX13" fmla="*/ 2621885 w 5560752"/>
              <a:gd name="connsiteY13" fmla="*/ 6868800 h 6868800"/>
              <a:gd name="connsiteX14" fmla="*/ 2418035 w 5560752"/>
              <a:gd name="connsiteY14" fmla="*/ 6334754 h 6868800"/>
              <a:gd name="connsiteX15" fmla="*/ 2794373 w 5560752"/>
              <a:gd name="connsiteY15" fmla="*/ 2860946 h 6868800"/>
              <a:gd name="connsiteX16" fmla="*/ 2604149 w 5560752"/>
              <a:gd name="connsiteY16" fmla="*/ 3306692 h 6868800"/>
              <a:gd name="connsiteX17" fmla="*/ 1262196 w 5560752"/>
              <a:gd name="connsiteY17" fmla="*/ 3306692 h 6868800"/>
              <a:gd name="connsiteX18" fmla="*/ 0 w 5560752"/>
              <a:gd name="connsiteY18"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896695 w 5560752"/>
              <a:gd name="connsiteY5" fmla="*/ 4964449 h 6868800"/>
              <a:gd name="connsiteX6" fmla="*/ 1381398 w 5560752"/>
              <a:gd name="connsiteY6" fmla="*/ 3608540 h 6868800"/>
              <a:gd name="connsiteX7" fmla="*/ 0 w 5560752"/>
              <a:gd name="connsiteY7" fmla="*/ 0 h 6868800"/>
              <a:gd name="connsiteX8" fmla="*/ 5560752 w 5560752"/>
              <a:gd name="connsiteY8" fmla="*/ 0 h 6868800"/>
              <a:gd name="connsiteX9" fmla="*/ 5560752 w 5560752"/>
              <a:gd name="connsiteY9" fmla="*/ 6868800 h 6868800"/>
              <a:gd name="connsiteX10" fmla="*/ 2621885 w 5560752"/>
              <a:gd name="connsiteY10" fmla="*/ 6868800 h 6868800"/>
              <a:gd name="connsiteX11" fmla="*/ 2418035 w 5560752"/>
              <a:gd name="connsiteY11" fmla="*/ 6334754 h 6868800"/>
              <a:gd name="connsiteX12" fmla="*/ 2794373 w 5560752"/>
              <a:gd name="connsiteY12" fmla="*/ 2860946 h 6868800"/>
              <a:gd name="connsiteX13" fmla="*/ 2604149 w 5560752"/>
              <a:gd name="connsiteY13" fmla="*/ 3306692 h 6868800"/>
              <a:gd name="connsiteX14" fmla="*/ 1262196 w 5560752"/>
              <a:gd name="connsiteY14" fmla="*/ 3306692 h 6868800"/>
              <a:gd name="connsiteX15" fmla="*/ 0 w 5560752"/>
              <a:gd name="connsiteY15"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381398 w 5560752"/>
              <a:gd name="connsiteY5" fmla="*/ 3608540 h 6868800"/>
              <a:gd name="connsiteX6" fmla="*/ 0 w 5560752"/>
              <a:gd name="connsiteY6" fmla="*/ 0 h 6868800"/>
              <a:gd name="connsiteX7" fmla="*/ 5560752 w 5560752"/>
              <a:gd name="connsiteY7" fmla="*/ 0 h 6868800"/>
              <a:gd name="connsiteX8" fmla="*/ 5560752 w 5560752"/>
              <a:gd name="connsiteY8" fmla="*/ 6868800 h 6868800"/>
              <a:gd name="connsiteX9" fmla="*/ 2621885 w 5560752"/>
              <a:gd name="connsiteY9" fmla="*/ 6868800 h 6868800"/>
              <a:gd name="connsiteX10" fmla="*/ 2418035 w 5560752"/>
              <a:gd name="connsiteY10" fmla="*/ 6334754 h 6868800"/>
              <a:gd name="connsiteX11" fmla="*/ 2794373 w 5560752"/>
              <a:gd name="connsiteY11" fmla="*/ 2860946 h 6868800"/>
              <a:gd name="connsiteX12" fmla="*/ 2604149 w 5560752"/>
              <a:gd name="connsiteY12" fmla="*/ 3306692 h 6868800"/>
              <a:gd name="connsiteX13" fmla="*/ 1262196 w 5560752"/>
              <a:gd name="connsiteY13" fmla="*/ 3306692 h 6868800"/>
              <a:gd name="connsiteX14" fmla="*/ 0 w 5560752"/>
              <a:gd name="connsiteY14" fmla="*/ 0 h 6868800"/>
              <a:gd name="connsiteX0" fmla="*/ 1381398 w 5560752"/>
              <a:gd name="connsiteY0" fmla="*/ 3608540 h 6868800"/>
              <a:gd name="connsiteX1" fmla="*/ 2475335 w 5560752"/>
              <a:gd name="connsiteY1" fmla="*/ 3608540 h 6868800"/>
              <a:gd name="connsiteX2" fmla="*/ 1381398 w 5560752"/>
              <a:gd name="connsiteY2" fmla="*/ 3608540 h 6868800"/>
              <a:gd name="connsiteX3" fmla="*/ 0 w 5560752"/>
              <a:gd name="connsiteY3" fmla="*/ 0 h 6868800"/>
              <a:gd name="connsiteX4" fmla="*/ 5560752 w 5560752"/>
              <a:gd name="connsiteY4" fmla="*/ 0 h 6868800"/>
              <a:gd name="connsiteX5" fmla="*/ 5560752 w 5560752"/>
              <a:gd name="connsiteY5" fmla="*/ 6868800 h 6868800"/>
              <a:gd name="connsiteX6" fmla="*/ 2621885 w 5560752"/>
              <a:gd name="connsiteY6" fmla="*/ 6868800 h 6868800"/>
              <a:gd name="connsiteX7" fmla="*/ 2418035 w 5560752"/>
              <a:gd name="connsiteY7" fmla="*/ 6334754 h 6868800"/>
              <a:gd name="connsiteX8" fmla="*/ 2794373 w 5560752"/>
              <a:gd name="connsiteY8" fmla="*/ 2860946 h 6868800"/>
              <a:gd name="connsiteX9" fmla="*/ 2604149 w 5560752"/>
              <a:gd name="connsiteY9" fmla="*/ 3306692 h 6868800"/>
              <a:gd name="connsiteX10" fmla="*/ 1262196 w 5560752"/>
              <a:gd name="connsiteY10" fmla="*/ 3306692 h 6868800"/>
              <a:gd name="connsiteX11" fmla="*/ 0 w 5560752"/>
              <a:gd name="connsiteY11"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794373 w 5560752"/>
              <a:gd name="connsiteY5" fmla="*/ 2860946 h 6868800"/>
              <a:gd name="connsiteX6" fmla="*/ 2604149 w 5560752"/>
              <a:gd name="connsiteY6" fmla="*/ 3306692 h 6868800"/>
              <a:gd name="connsiteX7" fmla="*/ 1262196 w 5560752"/>
              <a:gd name="connsiteY7" fmla="*/ 3306692 h 6868800"/>
              <a:gd name="connsiteX8" fmla="*/ 0 w 5560752"/>
              <a:gd name="connsiteY8"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604149 w 5560752"/>
              <a:gd name="connsiteY5" fmla="*/ 3306692 h 6868800"/>
              <a:gd name="connsiteX6" fmla="*/ 1262196 w 5560752"/>
              <a:gd name="connsiteY6" fmla="*/ 3306692 h 6868800"/>
              <a:gd name="connsiteX7" fmla="*/ 0 w 5560752"/>
              <a:gd name="connsiteY7"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604149 w 5560752"/>
              <a:gd name="connsiteY4" fmla="*/ 3306692 h 6868800"/>
              <a:gd name="connsiteX5" fmla="*/ 1262196 w 5560752"/>
              <a:gd name="connsiteY5" fmla="*/ 3306692 h 6868800"/>
              <a:gd name="connsiteX6" fmla="*/ 0 w 5560752"/>
              <a:gd name="connsiteY6"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1262196 w 5560752"/>
              <a:gd name="connsiteY4" fmla="*/ 3306692 h 6868800"/>
              <a:gd name="connsiteX5" fmla="*/ 0 w 5560752"/>
              <a:gd name="connsiteY5"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0 w 5560752"/>
              <a:gd name="connsiteY4" fmla="*/ 0 h 6868800"/>
              <a:gd name="connsiteX0" fmla="*/ 1254105 w 6814857"/>
              <a:gd name="connsiteY0" fmla="*/ 0 h 6909943"/>
              <a:gd name="connsiteX1" fmla="*/ 6814857 w 6814857"/>
              <a:gd name="connsiteY1" fmla="*/ 0 h 6909943"/>
              <a:gd name="connsiteX2" fmla="*/ 6814857 w 6814857"/>
              <a:gd name="connsiteY2" fmla="*/ 6868800 h 6909943"/>
              <a:gd name="connsiteX3" fmla="*/ 0 w 6814857"/>
              <a:gd name="connsiteY3" fmla="*/ 6909943 h 6909943"/>
              <a:gd name="connsiteX4" fmla="*/ 1254105 w 6814857"/>
              <a:gd name="connsiteY4" fmla="*/ 0 h 6909943"/>
              <a:gd name="connsiteX0" fmla="*/ 1246535 w 6807287"/>
              <a:gd name="connsiteY0" fmla="*/ 0 h 6868800"/>
              <a:gd name="connsiteX1" fmla="*/ 6807287 w 6807287"/>
              <a:gd name="connsiteY1" fmla="*/ 0 h 6868800"/>
              <a:gd name="connsiteX2" fmla="*/ 6807287 w 6807287"/>
              <a:gd name="connsiteY2" fmla="*/ 6868800 h 6868800"/>
              <a:gd name="connsiteX3" fmla="*/ 0 w 6807287"/>
              <a:gd name="connsiteY3" fmla="*/ 6841371 h 6868800"/>
              <a:gd name="connsiteX4" fmla="*/ 1246535 w 6807287"/>
              <a:gd name="connsiteY4" fmla="*/ 0 h 6868800"/>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105735 w 6807287"/>
              <a:gd name="connsiteY0" fmla="*/ 0 h 6851748"/>
              <a:gd name="connsiteX1" fmla="*/ 6807287 w 6807287"/>
              <a:gd name="connsiteY1" fmla="*/ 10377 h 6851748"/>
              <a:gd name="connsiteX2" fmla="*/ 6792146 w 6807287"/>
              <a:gd name="connsiteY2" fmla="*/ 6824319 h 6851748"/>
              <a:gd name="connsiteX3" fmla="*/ 0 w 6807287"/>
              <a:gd name="connsiteY3" fmla="*/ 6851748 h 6851748"/>
              <a:gd name="connsiteX4" fmla="*/ 1105735 w 6807287"/>
              <a:gd name="connsiteY4" fmla="*/ 0 h 6851748"/>
              <a:gd name="connsiteX0" fmla="*/ 1697095 w 7398647"/>
              <a:gd name="connsiteY0" fmla="*/ 0 h 6841372"/>
              <a:gd name="connsiteX1" fmla="*/ 7398647 w 7398647"/>
              <a:gd name="connsiteY1" fmla="*/ 10377 h 6841372"/>
              <a:gd name="connsiteX2" fmla="*/ 7383506 w 7398647"/>
              <a:gd name="connsiteY2" fmla="*/ 6824319 h 6841372"/>
              <a:gd name="connsiteX3" fmla="*/ 0 w 7398647"/>
              <a:gd name="connsiteY3" fmla="*/ 6841372 h 6841372"/>
              <a:gd name="connsiteX4" fmla="*/ 1697095 w 7398647"/>
              <a:gd name="connsiteY4" fmla="*/ 0 h 6841372"/>
              <a:gd name="connsiteX0" fmla="*/ 1676371 w 7377923"/>
              <a:gd name="connsiteY0" fmla="*/ 0 h 6824319"/>
              <a:gd name="connsiteX1" fmla="*/ 7377923 w 7377923"/>
              <a:gd name="connsiteY1" fmla="*/ 10377 h 6824319"/>
              <a:gd name="connsiteX2" fmla="*/ 7362782 w 7377923"/>
              <a:gd name="connsiteY2" fmla="*/ 6824319 h 6824319"/>
              <a:gd name="connsiteX3" fmla="*/ 0 w 7377923"/>
              <a:gd name="connsiteY3" fmla="*/ 6820161 h 6824319"/>
              <a:gd name="connsiteX4" fmla="*/ 1676371 w 7377923"/>
              <a:gd name="connsiteY4" fmla="*/ 0 h 6824319"/>
              <a:gd name="connsiteX0" fmla="*/ 1674069 w 7377923"/>
              <a:gd name="connsiteY0" fmla="*/ 0 h 6828561"/>
              <a:gd name="connsiteX1" fmla="*/ 7377923 w 7377923"/>
              <a:gd name="connsiteY1" fmla="*/ 14619 h 6828561"/>
              <a:gd name="connsiteX2" fmla="*/ 7362782 w 7377923"/>
              <a:gd name="connsiteY2" fmla="*/ 6828561 h 6828561"/>
              <a:gd name="connsiteX3" fmla="*/ 0 w 7377923"/>
              <a:gd name="connsiteY3" fmla="*/ 6824403 h 6828561"/>
              <a:gd name="connsiteX4" fmla="*/ 1674069 w 7377923"/>
              <a:gd name="connsiteY4" fmla="*/ 0 h 6828561"/>
              <a:gd name="connsiteX0" fmla="*/ 1803605 w 7377923"/>
              <a:gd name="connsiteY0" fmla="*/ 265534 h 6813942"/>
              <a:gd name="connsiteX1" fmla="*/ 7377923 w 7377923"/>
              <a:gd name="connsiteY1" fmla="*/ 0 h 6813942"/>
              <a:gd name="connsiteX2" fmla="*/ 7362782 w 7377923"/>
              <a:gd name="connsiteY2" fmla="*/ 6813942 h 6813942"/>
              <a:gd name="connsiteX3" fmla="*/ 0 w 7377923"/>
              <a:gd name="connsiteY3" fmla="*/ 6809784 h 6813942"/>
              <a:gd name="connsiteX4" fmla="*/ 1803605 w 7377923"/>
              <a:gd name="connsiteY4" fmla="*/ 265534 h 6813942"/>
              <a:gd name="connsiteX0" fmla="*/ 1803605 w 7377923"/>
              <a:gd name="connsiteY0" fmla="*/ 0 h 6548408"/>
              <a:gd name="connsiteX1" fmla="*/ 7377923 w 7377923"/>
              <a:gd name="connsiteY1" fmla="*/ 45746 h 6548408"/>
              <a:gd name="connsiteX2" fmla="*/ 7362782 w 7377923"/>
              <a:gd name="connsiteY2" fmla="*/ 6548408 h 6548408"/>
              <a:gd name="connsiteX3" fmla="*/ 0 w 7377923"/>
              <a:gd name="connsiteY3" fmla="*/ 6544250 h 6548408"/>
              <a:gd name="connsiteX4" fmla="*/ 1803605 w 7377923"/>
              <a:gd name="connsiteY4" fmla="*/ 0 h 6548408"/>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58959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89590 w 7163908"/>
              <a:gd name="connsiteY4" fmla="*/ 37263 h 6623017"/>
              <a:gd name="connsiteX0" fmla="*/ 153327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33270 w 7163908"/>
              <a:gd name="connsiteY4" fmla="*/ 37263 h 6623017"/>
              <a:gd name="connsiteX0" fmla="*/ 1555798 w 7186436"/>
              <a:gd name="connsiteY0" fmla="*/ 37263 h 6623017"/>
              <a:gd name="connsiteX1" fmla="*/ 7186436 w 7186436"/>
              <a:gd name="connsiteY1" fmla="*/ 0 h 6623017"/>
              <a:gd name="connsiteX2" fmla="*/ 7171295 w 7186436"/>
              <a:gd name="connsiteY2" fmla="*/ 6585671 h 6623017"/>
              <a:gd name="connsiteX3" fmla="*/ 0 w 7186436"/>
              <a:gd name="connsiteY3" fmla="*/ 6623017 h 6623017"/>
              <a:gd name="connsiteX4" fmla="*/ 1555798 w 7186436"/>
              <a:gd name="connsiteY4" fmla="*/ 37263 h 6623017"/>
              <a:gd name="connsiteX0" fmla="*/ 1555798 w 7205087"/>
              <a:gd name="connsiteY0" fmla="*/ 37263 h 6623017"/>
              <a:gd name="connsiteX1" fmla="*/ 7186436 w 7205087"/>
              <a:gd name="connsiteY1" fmla="*/ 0 h 6623017"/>
              <a:gd name="connsiteX2" fmla="*/ 7205087 w 7205087"/>
              <a:gd name="connsiteY2" fmla="*/ 6575295 h 6623017"/>
              <a:gd name="connsiteX3" fmla="*/ 0 w 7205087"/>
              <a:gd name="connsiteY3" fmla="*/ 6623017 h 6623017"/>
              <a:gd name="connsiteX4" fmla="*/ 1555798 w 7205087"/>
              <a:gd name="connsiteY4" fmla="*/ 37263 h 6623017"/>
              <a:gd name="connsiteX0" fmla="*/ 1522005 w 7171294"/>
              <a:gd name="connsiteY0" fmla="*/ 37263 h 6623017"/>
              <a:gd name="connsiteX1" fmla="*/ 7152643 w 7171294"/>
              <a:gd name="connsiteY1" fmla="*/ 0 h 6623017"/>
              <a:gd name="connsiteX2" fmla="*/ 7171294 w 7171294"/>
              <a:gd name="connsiteY2" fmla="*/ 6575295 h 6623017"/>
              <a:gd name="connsiteX3" fmla="*/ 0 w 7171294"/>
              <a:gd name="connsiteY3" fmla="*/ 6623017 h 6623017"/>
              <a:gd name="connsiteX4" fmla="*/ 1522005 w 7171294"/>
              <a:gd name="connsiteY4" fmla="*/ 37263 h 6623017"/>
              <a:gd name="connsiteX0" fmla="*/ 1522005 w 7171295"/>
              <a:gd name="connsiteY0" fmla="*/ 3726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37263 h 6627177"/>
              <a:gd name="connsiteX0" fmla="*/ 1522005 w 7171295"/>
              <a:gd name="connsiteY0" fmla="*/ 6441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64413 h 6627177"/>
              <a:gd name="connsiteX0" fmla="*/ 1531216 w 7171295"/>
              <a:gd name="connsiteY0" fmla="*/ 13506 h 6627177"/>
              <a:gd name="connsiteX1" fmla="*/ 7152643 w 7171295"/>
              <a:gd name="connsiteY1" fmla="*/ 0 h 6627177"/>
              <a:gd name="connsiteX2" fmla="*/ 7171295 w 7171295"/>
              <a:gd name="connsiteY2" fmla="*/ 6627177 h 6627177"/>
              <a:gd name="connsiteX3" fmla="*/ 0 w 7171295"/>
              <a:gd name="connsiteY3" fmla="*/ 6623017 h 6627177"/>
              <a:gd name="connsiteX4" fmla="*/ 1531216 w 7171295"/>
              <a:gd name="connsiteY4" fmla="*/ 13506 h 6627177"/>
              <a:gd name="connsiteX0" fmla="*/ 1540427 w 7171295"/>
              <a:gd name="connsiteY0" fmla="*/ 0 h 6630640"/>
              <a:gd name="connsiteX1" fmla="*/ 7152643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40427 w 7171295"/>
              <a:gd name="connsiteY0" fmla="*/ 0 h 6630640"/>
              <a:gd name="connsiteX1" fmla="*/ 7148039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54243 w 7185111"/>
              <a:gd name="connsiteY0" fmla="*/ 0 h 6660418"/>
              <a:gd name="connsiteX1" fmla="*/ 7161855 w 7185111"/>
              <a:gd name="connsiteY1" fmla="*/ 3463 h 6660418"/>
              <a:gd name="connsiteX2" fmla="*/ 7185111 w 7185111"/>
              <a:gd name="connsiteY2" fmla="*/ 6630640 h 6660418"/>
              <a:gd name="connsiteX3" fmla="*/ 0 w 7185111"/>
              <a:gd name="connsiteY3" fmla="*/ 6660418 h 6660418"/>
              <a:gd name="connsiteX4" fmla="*/ 1554243 w 7185111"/>
              <a:gd name="connsiteY4" fmla="*/ 0 h 6660418"/>
              <a:gd name="connsiteX0" fmla="*/ 1545032 w 7175900"/>
              <a:gd name="connsiteY0" fmla="*/ 0 h 6660418"/>
              <a:gd name="connsiteX1" fmla="*/ 7152644 w 7175900"/>
              <a:gd name="connsiteY1" fmla="*/ 3463 h 6660418"/>
              <a:gd name="connsiteX2" fmla="*/ 7175900 w 7175900"/>
              <a:gd name="connsiteY2" fmla="*/ 6630640 h 6660418"/>
              <a:gd name="connsiteX3" fmla="*/ 0 w 7175900"/>
              <a:gd name="connsiteY3" fmla="*/ 6660418 h 6660418"/>
              <a:gd name="connsiteX4" fmla="*/ 1545032 w 7175900"/>
              <a:gd name="connsiteY4" fmla="*/ 0 h 6660418"/>
              <a:gd name="connsiteX0" fmla="*/ 1545032 w 7154465"/>
              <a:gd name="connsiteY0" fmla="*/ 0 h 6673062"/>
              <a:gd name="connsiteX1" fmla="*/ 7152644 w 7154465"/>
              <a:gd name="connsiteY1" fmla="*/ 3463 h 6673062"/>
              <a:gd name="connsiteX2" fmla="*/ 7152874 w 7154465"/>
              <a:gd name="connsiteY2" fmla="*/ 6673062 h 6673062"/>
              <a:gd name="connsiteX3" fmla="*/ 0 w 7154465"/>
              <a:gd name="connsiteY3" fmla="*/ 6660418 h 6673062"/>
              <a:gd name="connsiteX4" fmla="*/ 1545032 w 7154465"/>
              <a:gd name="connsiteY4" fmla="*/ 0 h 6673062"/>
              <a:gd name="connsiteX0" fmla="*/ 1545032 w 7153789"/>
              <a:gd name="connsiteY0" fmla="*/ 0 h 6681546"/>
              <a:gd name="connsiteX1" fmla="*/ 7152644 w 7153789"/>
              <a:gd name="connsiteY1" fmla="*/ 3463 h 6681546"/>
              <a:gd name="connsiteX2" fmla="*/ 7143664 w 7153789"/>
              <a:gd name="connsiteY2" fmla="*/ 6681546 h 6681546"/>
              <a:gd name="connsiteX3" fmla="*/ 0 w 7153789"/>
              <a:gd name="connsiteY3" fmla="*/ 6660418 h 6681546"/>
              <a:gd name="connsiteX4" fmla="*/ 1545032 w 7153789"/>
              <a:gd name="connsiteY4" fmla="*/ 0 h 6681546"/>
              <a:gd name="connsiteX0" fmla="*/ 1549638 w 7158395"/>
              <a:gd name="connsiteY0" fmla="*/ 0 h 6681546"/>
              <a:gd name="connsiteX1" fmla="*/ 7157250 w 7158395"/>
              <a:gd name="connsiteY1" fmla="*/ 3463 h 6681546"/>
              <a:gd name="connsiteX2" fmla="*/ 7148270 w 7158395"/>
              <a:gd name="connsiteY2" fmla="*/ 6681546 h 6681546"/>
              <a:gd name="connsiteX3" fmla="*/ 0 w 7158395"/>
              <a:gd name="connsiteY3" fmla="*/ 6668904 h 6681546"/>
              <a:gd name="connsiteX4" fmla="*/ 1549638 w 7158395"/>
              <a:gd name="connsiteY4" fmla="*/ 0 h 6681546"/>
              <a:gd name="connsiteX0" fmla="*/ 1558849 w 7167606"/>
              <a:gd name="connsiteY0" fmla="*/ 0 h 6681546"/>
              <a:gd name="connsiteX1" fmla="*/ 7166461 w 7167606"/>
              <a:gd name="connsiteY1" fmla="*/ 3463 h 6681546"/>
              <a:gd name="connsiteX2" fmla="*/ 7157481 w 7167606"/>
              <a:gd name="connsiteY2" fmla="*/ 6681546 h 6681546"/>
              <a:gd name="connsiteX3" fmla="*/ 0 w 7167606"/>
              <a:gd name="connsiteY3" fmla="*/ 6677390 h 6681546"/>
              <a:gd name="connsiteX4" fmla="*/ 1558849 w 7167606"/>
              <a:gd name="connsiteY4" fmla="*/ 0 h 6681546"/>
              <a:gd name="connsiteX0" fmla="*/ 1558861 w 7167618"/>
              <a:gd name="connsiteY0" fmla="*/ 0 h 6681546"/>
              <a:gd name="connsiteX1" fmla="*/ 7166473 w 7167618"/>
              <a:gd name="connsiteY1" fmla="*/ 3463 h 6681546"/>
              <a:gd name="connsiteX2" fmla="*/ 7157493 w 7167618"/>
              <a:gd name="connsiteY2" fmla="*/ 6681546 h 6681546"/>
              <a:gd name="connsiteX3" fmla="*/ 12 w 7167618"/>
              <a:gd name="connsiteY3" fmla="*/ 6677390 h 6681546"/>
              <a:gd name="connsiteX4" fmla="*/ 1558861 w 7167618"/>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8861 w 7167212"/>
              <a:gd name="connsiteY4" fmla="*/ 5 h 6681551"/>
              <a:gd name="connsiteX0" fmla="*/ 1554256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4256 w 7167212"/>
              <a:gd name="connsiteY4" fmla="*/ 5 h 6681551"/>
              <a:gd name="connsiteX0" fmla="*/ 1549650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49650 w 7167212"/>
              <a:gd name="connsiteY4" fmla="*/ 5 h 6681551"/>
              <a:gd name="connsiteX0" fmla="*/ 1391955 w 7167212"/>
              <a:gd name="connsiteY0" fmla="*/ 7014 h 6678184"/>
              <a:gd name="connsiteX1" fmla="*/ 7166473 w 7167212"/>
              <a:gd name="connsiteY1" fmla="*/ 101 h 6678184"/>
              <a:gd name="connsiteX2" fmla="*/ 7143678 w 7167212"/>
              <a:gd name="connsiteY2" fmla="*/ 6678184 h 6678184"/>
              <a:gd name="connsiteX3" fmla="*/ 12 w 7167212"/>
              <a:gd name="connsiteY3" fmla="*/ 6674028 h 6678184"/>
              <a:gd name="connsiteX4" fmla="*/ 1391955 w 7167212"/>
              <a:gd name="connsiteY4" fmla="*/ 7014 h 6678184"/>
              <a:gd name="connsiteX0" fmla="*/ 1437012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37012 w 7212269"/>
              <a:gd name="connsiteY4" fmla="*/ 7014 h 6678184"/>
              <a:gd name="connsiteX0" fmla="*/ 1458504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58504 w 7212269"/>
              <a:gd name="connsiteY4" fmla="*/ 7014 h 6678184"/>
              <a:gd name="connsiteX0" fmla="*/ 1446224 w 7199989"/>
              <a:gd name="connsiteY0" fmla="*/ 7014 h 6678184"/>
              <a:gd name="connsiteX1" fmla="*/ 7199250 w 7199989"/>
              <a:gd name="connsiteY1" fmla="*/ 101 h 6678184"/>
              <a:gd name="connsiteX2" fmla="*/ 7176455 w 7199989"/>
              <a:gd name="connsiteY2" fmla="*/ 6678184 h 6678184"/>
              <a:gd name="connsiteX3" fmla="*/ 13 w 7199989"/>
              <a:gd name="connsiteY3" fmla="*/ 6674028 h 6678184"/>
              <a:gd name="connsiteX4" fmla="*/ 1446224 w 7199989"/>
              <a:gd name="connsiteY4" fmla="*/ 7014 h 6678184"/>
              <a:gd name="connsiteX0" fmla="*/ 1446247 w 7200012"/>
              <a:gd name="connsiteY0" fmla="*/ 7014 h 6678184"/>
              <a:gd name="connsiteX1" fmla="*/ 7199273 w 7200012"/>
              <a:gd name="connsiteY1" fmla="*/ 101 h 6678184"/>
              <a:gd name="connsiteX2" fmla="*/ 7176478 w 7200012"/>
              <a:gd name="connsiteY2" fmla="*/ 6678184 h 6678184"/>
              <a:gd name="connsiteX3" fmla="*/ 36 w 7200012"/>
              <a:gd name="connsiteY3" fmla="*/ 6674028 h 6678184"/>
              <a:gd name="connsiteX4" fmla="*/ 1446247 w 7200012"/>
              <a:gd name="connsiteY4" fmla="*/ 7014 h 6678184"/>
              <a:gd name="connsiteX0" fmla="*/ 1496934 w 7250699"/>
              <a:gd name="connsiteY0" fmla="*/ 7014 h 6678184"/>
              <a:gd name="connsiteX1" fmla="*/ 7249960 w 7250699"/>
              <a:gd name="connsiteY1" fmla="*/ 101 h 6678184"/>
              <a:gd name="connsiteX2" fmla="*/ 7227165 w 7250699"/>
              <a:gd name="connsiteY2" fmla="*/ 6678184 h 6678184"/>
              <a:gd name="connsiteX3" fmla="*/ 35 w 7250699"/>
              <a:gd name="connsiteY3" fmla="*/ 6674028 h 6678184"/>
              <a:gd name="connsiteX4" fmla="*/ 1496934 w 7250699"/>
              <a:gd name="connsiteY4" fmla="*/ 7014 h 6678184"/>
              <a:gd name="connsiteX0" fmla="*/ 1480039 w 7250699"/>
              <a:gd name="connsiteY0" fmla="*/ 3 h 6681549"/>
              <a:gd name="connsiteX1" fmla="*/ 7249960 w 7250699"/>
              <a:gd name="connsiteY1" fmla="*/ 3466 h 6681549"/>
              <a:gd name="connsiteX2" fmla="*/ 7227165 w 7250699"/>
              <a:gd name="connsiteY2" fmla="*/ 6681549 h 6681549"/>
              <a:gd name="connsiteX3" fmla="*/ 35 w 7250699"/>
              <a:gd name="connsiteY3" fmla="*/ 6677393 h 6681549"/>
              <a:gd name="connsiteX4" fmla="*/ 1480039 w 7250699"/>
              <a:gd name="connsiteY4" fmla="*/ 3 h 6681549"/>
              <a:gd name="connsiteX0" fmla="*/ 1451881 w 7222541"/>
              <a:gd name="connsiteY0" fmla="*/ 3 h 6681549"/>
              <a:gd name="connsiteX1" fmla="*/ 7221802 w 7222541"/>
              <a:gd name="connsiteY1" fmla="*/ 3466 h 6681549"/>
              <a:gd name="connsiteX2" fmla="*/ 7199007 w 7222541"/>
              <a:gd name="connsiteY2" fmla="*/ 6681549 h 6681549"/>
              <a:gd name="connsiteX3" fmla="*/ 37 w 7222541"/>
              <a:gd name="connsiteY3" fmla="*/ 6667015 h 6681549"/>
              <a:gd name="connsiteX4" fmla="*/ 1451881 w 7222541"/>
              <a:gd name="connsiteY4" fmla="*/ 3 h 6681549"/>
              <a:gd name="connsiteX0" fmla="*/ 23061 w 5793721"/>
              <a:gd name="connsiteY0" fmla="*/ 3 h 6684096"/>
              <a:gd name="connsiteX1" fmla="*/ 5792982 w 5793721"/>
              <a:gd name="connsiteY1" fmla="*/ 3466 h 6684096"/>
              <a:gd name="connsiteX2" fmla="*/ 5770187 w 5793721"/>
              <a:gd name="connsiteY2" fmla="*/ 6681549 h 6684096"/>
              <a:gd name="connsiteX3" fmla="*/ 1308 w 5793721"/>
              <a:gd name="connsiteY3" fmla="*/ 6681418 h 6684096"/>
              <a:gd name="connsiteX4" fmla="*/ 23061 w 5793721"/>
              <a:gd name="connsiteY4" fmla="*/ 3 h 6684096"/>
              <a:gd name="connsiteX0" fmla="*/ 23061 w 5792997"/>
              <a:gd name="connsiteY0" fmla="*/ 3 h 6695951"/>
              <a:gd name="connsiteX1" fmla="*/ 5792982 w 5792997"/>
              <a:gd name="connsiteY1" fmla="*/ 3466 h 6695951"/>
              <a:gd name="connsiteX2" fmla="*/ 3768058 w 5792997"/>
              <a:gd name="connsiteY2" fmla="*/ 6695951 h 6695951"/>
              <a:gd name="connsiteX3" fmla="*/ 1308 w 5792997"/>
              <a:gd name="connsiteY3" fmla="*/ 6681418 h 6695951"/>
              <a:gd name="connsiteX4" fmla="*/ 23061 w 5792997"/>
              <a:gd name="connsiteY4" fmla="*/ 3 h 6695951"/>
              <a:gd name="connsiteX0" fmla="*/ 23061 w 5792981"/>
              <a:gd name="connsiteY0" fmla="*/ 3 h 6695951"/>
              <a:gd name="connsiteX1" fmla="*/ 5792982 w 5792981"/>
              <a:gd name="connsiteY1" fmla="*/ 3466 h 6695951"/>
              <a:gd name="connsiteX2" fmla="*/ 3768058 w 5792981"/>
              <a:gd name="connsiteY2" fmla="*/ 6695951 h 6695951"/>
              <a:gd name="connsiteX3" fmla="*/ 1308 w 5792981"/>
              <a:gd name="connsiteY3" fmla="*/ 6681418 h 6695951"/>
              <a:gd name="connsiteX4" fmla="*/ 23061 w 5792981"/>
              <a:gd name="connsiteY4" fmla="*/ 3 h 6695951"/>
              <a:gd name="connsiteX0" fmla="*/ 23061 w 5792983"/>
              <a:gd name="connsiteY0" fmla="*/ 3 h 6695951"/>
              <a:gd name="connsiteX1" fmla="*/ 5792982 w 5792983"/>
              <a:gd name="connsiteY1" fmla="*/ 3466 h 6695951"/>
              <a:gd name="connsiteX2" fmla="*/ 3716984 w 5792983"/>
              <a:gd name="connsiteY2" fmla="*/ 6695951 h 6695951"/>
              <a:gd name="connsiteX3" fmla="*/ 1308 w 5792983"/>
              <a:gd name="connsiteY3" fmla="*/ 6681418 h 6695951"/>
              <a:gd name="connsiteX4" fmla="*/ 23061 w 5792983"/>
              <a:gd name="connsiteY4" fmla="*/ 3 h 6695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2983" h="6695951">
                <a:moveTo>
                  <a:pt x="23061" y="3"/>
                </a:moveTo>
                <a:cubicBezTo>
                  <a:pt x="17893" y="1157"/>
                  <a:pt x="3923778" y="2312"/>
                  <a:pt x="5792982" y="3466"/>
                </a:cubicBezTo>
                <a:lnTo>
                  <a:pt x="3716984" y="6695951"/>
                </a:lnTo>
                <a:cubicBezTo>
                  <a:pt x="3716453" y="6691380"/>
                  <a:pt x="-9679" y="6689244"/>
                  <a:pt x="1308" y="6681418"/>
                </a:cubicBezTo>
                <a:cubicBezTo>
                  <a:pt x="-7155" y="6701196"/>
                  <a:pt x="28454" y="-5634"/>
                  <a:pt x="23061" y="3"/>
                </a:cubicBezTo>
                <a:close/>
              </a:path>
            </a:pathLst>
          </a:custGeom>
        </p:spPr>
        <p:txBody>
          <a:bodyPr tIns="1188000" anchor="t" anchorCtr="0">
            <a:normAutofit/>
          </a:bodyPr>
          <a:lstStyle>
            <a:lvl1pPr marL="0" indent="0" algn="ctr">
              <a:buNone/>
              <a:defRPr sz="1200">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0" name="Text Placeholder 9"/>
          <p:cNvSpPr>
            <a:spLocks noGrp="1"/>
          </p:cNvSpPr>
          <p:nvPr>
            <p:ph type="body" sz="quarter" idx="15"/>
          </p:nvPr>
        </p:nvSpPr>
        <p:spPr>
          <a:xfrm>
            <a:off x="2726923" y="1791597"/>
            <a:ext cx="3888432" cy="6716843"/>
          </a:xfrm>
        </p:spPr>
        <p:txBody>
          <a:bodyPr>
            <a:normAutofit/>
          </a:bodyPr>
          <a:lstStyle>
            <a:lvl1pPr marL="0" indent="0">
              <a:buNone/>
              <a:defRPr sz="1500">
                <a:latin typeface="Segoe UI" panose="020B0502040204020203" pitchFamily="34" charset="0"/>
                <a:ea typeface="Segoe UI" panose="020B0502040204020203" pitchFamily="34" charset="0"/>
                <a:cs typeface="Segoe UI" panose="020B0502040204020203" pitchFamily="34" charset="0"/>
              </a:defRPr>
            </a:lvl1pPr>
            <a:lvl2pPr marL="270259" indent="-270259">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2pPr>
            <a:lvl3pPr marL="536945" indent="-266687">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3pPr>
            <a:lvl4pPr marL="808394" indent="-271450">
              <a:buClr>
                <a:schemeClr val="accent1"/>
              </a:buClr>
              <a:buSzPct val="90000"/>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4pPr>
            <a:lvl5pPr marL="1078652" indent="-270259">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p:cNvSpPr>
            <a:spLocks noGrp="1"/>
          </p:cNvSpPr>
          <p:nvPr>
            <p:ph type="sldNum" sz="quarter" idx="16"/>
          </p:nvPr>
        </p:nvSpPr>
        <p:spPr>
          <a:xfrm>
            <a:off x="5311066" y="8700459"/>
            <a:ext cx="1304288" cy="261508"/>
          </a:xfrm>
        </p:spPr>
        <p:txBody>
          <a:bodyPr/>
          <a:lstStyle>
            <a:lvl1pPr>
              <a:defRPr>
                <a:solidFill>
                  <a:schemeClr val="bg1">
                    <a:lumMod val="50000"/>
                  </a:schemeClr>
                </a:solidFill>
              </a:defRPr>
            </a:lvl1pPr>
          </a:lstStyle>
          <a:p>
            <a:r>
              <a:rPr lang="en-AU" dirty="0">
                <a:solidFill>
                  <a:srgbClr val="FFFFFF">
                    <a:lumMod val="50000"/>
                  </a:srgbClr>
                </a:solidFill>
              </a:rPr>
              <a:t> </a:t>
            </a:r>
            <a:r>
              <a:rPr lang="en-AU" sz="600" dirty="0">
                <a:solidFill>
                  <a:srgbClr val="000000"/>
                </a:solidFill>
                <a:cs typeface="Segoe UI"/>
              </a:rPr>
              <a:t>Offshore</a:t>
            </a:r>
            <a:r>
              <a:rPr lang="en-AU" sz="600" baseline="0" dirty="0">
                <a:solidFill>
                  <a:srgbClr val="000000"/>
                </a:solidFill>
                <a:cs typeface="Segoe UI"/>
              </a:rPr>
              <a:t> Mining and Civil</a:t>
            </a:r>
            <a:r>
              <a:rPr lang="en-AU" dirty="0">
                <a:solidFill>
                  <a:srgbClr val="FFFFFF">
                    <a:lumMod val="50000"/>
                  </a:srgbClr>
                </a:solidFill>
              </a:rPr>
              <a:t>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1865852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dvisian Title no content">
    <p:spTree>
      <p:nvGrpSpPr>
        <p:cNvPr id="1" name=""/>
        <p:cNvGrpSpPr/>
        <p:nvPr/>
      </p:nvGrpSpPr>
      <p:grpSpPr>
        <a:xfrm>
          <a:off x="0" y="0"/>
          <a:ext cx="0" cy="0"/>
          <a:chOff x="0" y="0"/>
          <a:chExt cx="0" cy="0"/>
        </a:xfrm>
      </p:grpSpPr>
      <p:sp>
        <p:nvSpPr>
          <p:cNvPr id="2" name="Title 1"/>
          <p:cNvSpPr>
            <a:spLocks noGrp="1"/>
          </p:cNvSpPr>
          <p:nvPr>
            <p:ph type="title"/>
          </p:nvPr>
        </p:nvSpPr>
        <p:spPr>
          <a:xfrm>
            <a:off x="591257" y="63500"/>
            <a:ext cx="6102678" cy="1076408"/>
          </a:xfrm>
        </p:spPr>
        <p:txBody>
          <a:bodyPr>
            <a:normAutofit/>
          </a:bodyPr>
          <a:lstStyle>
            <a:lvl1pPr>
              <a:defRPr sz="1500"/>
            </a:lvl1pPr>
          </a:lstStyle>
          <a:p>
            <a:r>
              <a:rPr lang="en-US" dirty="0"/>
              <a:t>Click to edit Master title style</a:t>
            </a:r>
            <a:endParaRPr lang="en-AU" dirty="0"/>
          </a:p>
        </p:txBody>
      </p:sp>
      <p:sp>
        <p:nvSpPr>
          <p:cNvPr id="3" name="Slide Number Placeholder 2"/>
          <p:cNvSpPr>
            <a:spLocks noGrp="1"/>
          </p:cNvSpPr>
          <p:nvPr>
            <p:ph type="sldNum" sz="quarter" idx="10"/>
          </p:nvPr>
        </p:nvSpPr>
        <p:spPr/>
        <p:txBody>
          <a:bodyPr/>
          <a:lstStyle>
            <a:lvl1pPr>
              <a:defRPr>
                <a:solidFill>
                  <a:schemeClr val="bg1">
                    <a:lumMod val="50000"/>
                  </a:schemeClr>
                </a:solidFill>
              </a:defRPr>
            </a:lvl1pPr>
          </a:lstStyle>
          <a:p>
            <a:r>
              <a:rPr lang="en-AU" dirty="0"/>
              <a:t> Offshore Mining and Civil  / </a:t>
            </a:r>
            <a:fld id="{CFD780AD-5876-4BCA-80DC-E96648A7269F}" type="slidenum">
              <a:rPr lang="en-AU" smtClean="0"/>
              <a:pPr/>
              <a:t>‹#›</a:t>
            </a:fld>
            <a:endParaRPr lang="en-AU" dirty="0"/>
          </a:p>
        </p:txBody>
      </p:sp>
    </p:spTree>
    <p:extLst>
      <p:ext uri="{BB962C8B-B14F-4D97-AF65-F5344CB8AC3E}">
        <p14:creationId xmlns:p14="http://schemas.microsoft.com/office/powerpoint/2010/main" val="33334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76945" y="4025900"/>
            <a:ext cx="6102678" cy="1076408"/>
          </a:xfrm>
          <a:prstGeom prst="rect">
            <a:avLst/>
          </a:prstGeom>
        </p:spPr>
        <p:txBody>
          <a:bodyPr vert="horz" lIns="0" tIns="0" rIns="0" bIns="0" rtlCol="0" anchor="ctr" anchorCtr="0">
            <a:normAutofit/>
          </a:bodyPr>
          <a:lstStyle>
            <a:lvl1pPr algn="ctr" rtl="0">
              <a:defRPr b="1">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2"/>
          </p:nvPr>
        </p:nvSpPr>
        <p:spPr>
          <a:xfrm>
            <a:off x="5297751" y="8700459"/>
            <a:ext cx="1317605" cy="261508"/>
          </a:xfrm>
        </p:spPr>
        <p:txBody>
          <a:bodyPr/>
          <a:lstStyle>
            <a:lvl1pPr>
              <a:defRPr>
                <a:solidFill>
                  <a:schemeClr val="bg1">
                    <a:lumMod val="50000"/>
                  </a:schemeClr>
                </a:solidFill>
              </a:defRPr>
            </a:lvl1pPr>
          </a:lstStyle>
          <a:p>
            <a:r>
              <a:rPr lang="en-AU" sz="600" dirty="0">
                <a:solidFill>
                  <a:srgbClr val="000000"/>
                </a:solidFill>
                <a:cs typeface="Segoe UI"/>
              </a:rPr>
              <a:t>Offshore</a:t>
            </a:r>
            <a:r>
              <a:rPr lang="en-AU" sz="600" baseline="0" dirty="0">
                <a:solidFill>
                  <a:srgbClr val="000000"/>
                </a:solidFill>
                <a:cs typeface="Segoe UI"/>
              </a:rPr>
              <a:t> Mining and Civil </a:t>
            </a:r>
            <a:r>
              <a:rPr lang="en-AU" dirty="0">
                <a:solidFill>
                  <a:srgbClr val="FFFFFF">
                    <a:lumMod val="50000"/>
                  </a:srgbClr>
                </a:solidFill>
              </a:rPr>
              <a:t>/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6" name="TextBox 5"/>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9696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1"/>
            <a:ext cx="4239090" cy="8051371"/>
          </a:xfrm>
          <a:prstGeom prst="rect">
            <a:avLst/>
          </a:prstGeom>
        </p:spPr>
      </p:pic>
      <p:sp>
        <p:nvSpPr>
          <p:cNvPr id="6" name="Title 5"/>
          <p:cNvSpPr>
            <a:spLocks noGrp="1"/>
          </p:cNvSpPr>
          <p:nvPr>
            <p:ph type="title"/>
          </p:nvPr>
        </p:nvSpPr>
        <p:spPr>
          <a:xfrm>
            <a:off x="513160" y="1128185"/>
            <a:ext cx="3887948"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a:xfrm>
            <a:off x="5351018" y="8700459"/>
            <a:ext cx="1264339"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a:t>
            </a:r>
            <a:r>
              <a:rPr lang="en-AU" dirty="0">
                <a:cs typeface="Segoe UI"/>
              </a:rPr>
              <a:t>Offshore Mining and Civil</a:t>
            </a:r>
            <a:r>
              <a:rPr lang="en-AU" dirty="0"/>
              <a:t>  / </a:t>
            </a:r>
            <a:fld id="{CFD780AD-5876-4BCA-80DC-E96648A7269F}" type="slidenum">
              <a:rPr lang="en-AU" smtClean="0"/>
              <a:pPr/>
              <a:t>‹#›</a:t>
            </a:fld>
            <a:endParaRPr lang="en-AU" dirty="0"/>
          </a:p>
        </p:txBody>
      </p:sp>
    </p:spTree>
    <p:extLst>
      <p:ext uri="{BB962C8B-B14F-4D97-AF65-F5344CB8AC3E}">
        <p14:creationId xmlns:p14="http://schemas.microsoft.com/office/powerpoint/2010/main" val="618341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887948"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1"/>
            <a:ext cx="4239090" cy="8051371"/>
          </a:xfrm>
          <a:prstGeom prst="rect">
            <a:avLst/>
          </a:prstGeom>
        </p:spPr>
      </p:pic>
      <p:sp>
        <p:nvSpPr>
          <p:cNvPr id="2" name="Slide Number Placeholder 1"/>
          <p:cNvSpPr>
            <a:spLocks noGrp="1"/>
          </p:cNvSpPr>
          <p:nvPr>
            <p:ph type="sldNum" sz="quarter" idx="10"/>
          </p:nvPr>
        </p:nvSpPr>
        <p:spPr>
          <a:xfrm>
            <a:off x="5306630" y="8700459"/>
            <a:ext cx="1308727"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a:t>
            </a:r>
            <a:r>
              <a:rPr lang="en-AU" dirty="0">
                <a:cs typeface="Segoe UI"/>
              </a:rPr>
              <a:t>Offshore Mining and Civil</a:t>
            </a:r>
            <a:r>
              <a:rPr lang="en-AU" dirty="0"/>
              <a:t>  / </a:t>
            </a:r>
            <a:fld id="{CFD780AD-5876-4BCA-80DC-E96648A7269F}" type="slidenum">
              <a:rPr lang="en-AU" smtClean="0"/>
              <a:pPr/>
              <a:t>‹#›</a:t>
            </a:fld>
            <a:endParaRPr lang="en-AU" dirty="0"/>
          </a:p>
        </p:txBody>
      </p:sp>
      <p:sp>
        <p:nvSpPr>
          <p:cNvPr id="7" name="TextBox 6"/>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13550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887948"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1"/>
            <a:ext cx="4239090" cy="8051371"/>
          </a:xfrm>
          <a:prstGeom prst="rect">
            <a:avLst/>
          </a:prstGeom>
        </p:spPr>
      </p:pic>
      <p:sp>
        <p:nvSpPr>
          <p:cNvPr id="2" name="Slide Number Placeholder 1"/>
          <p:cNvSpPr>
            <a:spLocks noGrp="1"/>
          </p:cNvSpPr>
          <p:nvPr>
            <p:ph type="sldNum" sz="quarter" idx="10"/>
          </p:nvPr>
        </p:nvSpPr>
        <p:spPr>
          <a:xfrm>
            <a:off x="5244484" y="8700459"/>
            <a:ext cx="1370870"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a:t>
            </a:r>
            <a:r>
              <a:rPr lang="en-AU" dirty="0">
                <a:cs typeface="Segoe UI"/>
              </a:rPr>
              <a:t>Offshore Mining and Civil</a:t>
            </a:r>
            <a:r>
              <a:rPr lang="en-AU" dirty="0"/>
              <a:t>  / </a:t>
            </a:r>
            <a:fld id="{CFD780AD-5876-4BCA-80DC-E96648A7269F}" type="slidenum">
              <a:rPr lang="en-AU" smtClean="0"/>
              <a:pPr/>
              <a:t>‹#›</a:t>
            </a:fld>
            <a:endParaRPr lang="en-AU" dirty="0"/>
          </a:p>
        </p:txBody>
      </p:sp>
      <p:sp>
        <p:nvSpPr>
          <p:cNvPr id="7" name="TextBox 6"/>
          <p:cNvSpPr txBox="1"/>
          <p:nvPr userDrawn="1"/>
        </p:nvSpPr>
        <p:spPr>
          <a:xfrm>
            <a:off x="6939441" y="2"/>
            <a:ext cx="2090261" cy="698333"/>
          </a:xfrm>
          <a:prstGeom prst="rect">
            <a:avLst/>
          </a:prstGeom>
          <a:solidFill>
            <a:schemeClr val="accent2"/>
          </a:solidFill>
        </p:spPr>
        <p:txBody>
          <a:bodyPr wrap="square" rtlCol="0">
            <a:spAutoFit/>
          </a:bodyPr>
          <a:lstStyle/>
          <a:p>
            <a:r>
              <a:rPr lang="en-AU" sz="900" b="1" dirty="0">
                <a:solidFill>
                  <a:srgbClr val="FFFFFF"/>
                </a:solidFill>
              </a:rPr>
              <a:t>TIP! </a:t>
            </a:r>
          </a:p>
          <a:p>
            <a:endParaRPr lang="en-AU" sz="788" b="1" dirty="0">
              <a:solidFill>
                <a:srgbClr val="FFFFFF"/>
              </a:solidFill>
            </a:endParaRPr>
          </a:p>
          <a:p>
            <a:r>
              <a:rPr lang="en-AU" sz="750" b="1" dirty="0">
                <a:solidFill>
                  <a:srgbClr val="00AEEF"/>
                </a:solidFill>
              </a:rPr>
              <a:t>RIGHT CLICK </a:t>
            </a:r>
            <a:r>
              <a:rPr lang="en-AU" sz="750" dirty="0">
                <a:solidFill>
                  <a:srgbClr val="FFFFFF"/>
                </a:solidFill>
              </a:rPr>
              <a:t>on the preview slide on the left hand side of your screen, and go to </a:t>
            </a:r>
            <a:r>
              <a:rPr lang="en-AU" sz="750" b="1" dirty="0">
                <a:solidFill>
                  <a:srgbClr val="00AEEF"/>
                </a:solidFill>
              </a:rPr>
              <a:t>LAYOUT</a:t>
            </a:r>
            <a:r>
              <a:rPr lang="en-AU" sz="750" dirty="0">
                <a:solidFill>
                  <a:srgbClr val="FFFFFF"/>
                </a:solidFill>
              </a:rPr>
              <a:t> to reveal more colour options and layouts. </a:t>
            </a:r>
          </a:p>
        </p:txBody>
      </p:sp>
    </p:spTree>
    <p:extLst>
      <p:ext uri="{BB962C8B-B14F-4D97-AF65-F5344CB8AC3E}">
        <p14:creationId xmlns:p14="http://schemas.microsoft.com/office/powerpoint/2010/main" val="242214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887948"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1"/>
            <a:ext cx="4239090" cy="8051371"/>
          </a:xfrm>
          <a:prstGeom prst="rect">
            <a:avLst/>
          </a:prstGeom>
        </p:spPr>
      </p:pic>
      <p:sp>
        <p:nvSpPr>
          <p:cNvPr id="2" name="Slide Number Placeholder 1"/>
          <p:cNvSpPr>
            <a:spLocks noGrp="1"/>
          </p:cNvSpPr>
          <p:nvPr>
            <p:ph type="sldNum" sz="quarter" idx="10"/>
          </p:nvPr>
        </p:nvSpPr>
        <p:spPr>
          <a:xfrm>
            <a:off x="5328824" y="8700459"/>
            <a:ext cx="1286533"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a:t>
            </a:r>
            <a:r>
              <a:rPr lang="en-AU" dirty="0">
                <a:cs typeface="Segoe UI"/>
              </a:rPr>
              <a:t>Offshore Mining and Civil</a:t>
            </a:r>
            <a:r>
              <a:rPr lang="en-AU" dirty="0"/>
              <a:t>  / </a:t>
            </a:r>
            <a:fld id="{CFD780AD-5876-4BCA-80DC-E96648A7269F}" type="slidenum">
              <a:rPr lang="en-AU" smtClean="0"/>
              <a:pPr/>
              <a:t>‹#›</a:t>
            </a:fld>
            <a:endParaRPr lang="en-AU" dirty="0"/>
          </a:p>
        </p:txBody>
      </p:sp>
      <p:sp>
        <p:nvSpPr>
          <p:cNvPr id="7" name="TextBox 6"/>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5658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0" y="1128185"/>
            <a:ext cx="3887948"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1"/>
            <a:ext cx="4239090" cy="8051371"/>
          </a:xfrm>
          <a:prstGeom prst="rect">
            <a:avLst/>
          </a:prstGeom>
        </p:spPr>
      </p:pic>
      <p:sp>
        <p:nvSpPr>
          <p:cNvPr id="6" name="Slide Number Placeholder 1"/>
          <p:cNvSpPr>
            <a:spLocks noGrp="1"/>
          </p:cNvSpPr>
          <p:nvPr>
            <p:ph type="sldNum" sz="quarter" idx="10"/>
          </p:nvPr>
        </p:nvSpPr>
        <p:spPr>
          <a:xfrm>
            <a:off x="5313286" y="8700459"/>
            <a:ext cx="1302068"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a:t>
            </a:r>
            <a:r>
              <a:rPr lang="en-AU" dirty="0">
                <a:cs typeface="Segoe UI"/>
              </a:rPr>
              <a:t>Offshore Mining and Civil</a:t>
            </a:r>
            <a:r>
              <a:rPr lang="en-AU" dirty="0"/>
              <a:t>  / </a:t>
            </a:r>
            <a:fld id="{CFD780AD-5876-4BCA-80DC-E96648A7269F}" type="slidenum">
              <a:rPr lang="en-AU" smtClean="0"/>
              <a:pPr/>
              <a:t>‹#›</a:t>
            </a:fld>
            <a:endParaRPr lang="en-AU" dirty="0"/>
          </a:p>
        </p:txBody>
      </p:sp>
      <p:sp>
        <p:nvSpPr>
          <p:cNvPr id="7" name="TextBox 6"/>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39927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2">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Title 5"/>
          <p:cNvSpPr>
            <a:spLocks noGrp="1"/>
          </p:cNvSpPr>
          <p:nvPr>
            <p:ph type="title"/>
          </p:nvPr>
        </p:nvSpPr>
        <p:spPr>
          <a:xfrm>
            <a:off x="513160"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a:xfrm>
            <a:off x="5335480" y="8700459"/>
            <a:ext cx="1279874"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a:t>
            </a:r>
            <a:r>
              <a:rPr lang="en-AU" dirty="0">
                <a:cs typeface="Segoe UI"/>
              </a:rPr>
              <a:t>Offshore Mining and Civil</a:t>
            </a:r>
            <a:r>
              <a:rPr lang="en-AU" dirty="0"/>
              <a:t>  / </a:t>
            </a:r>
            <a:fld id="{CFD780AD-5876-4BCA-80DC-E96648A7269F}" type="slidenum">
              <a:rPr lang="en-AU" smtClean="0"/>
              <a:pPr/>
              <a:t>‹#›</a:t>
            </a:fld>
            <a:endParaRPr lang="en-AU" dirty="0"/>
          </a:p>
        </p:txBody>
      </p:sp>
      <p:sp>
        <p:nvSpPr>
          <p:cNvPr id="8" name="TextBox 7"/>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54316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2">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131864" cy="6996211"/>
          </a:xfrm>
        </p:spPr>
        <p:txBody>
          <a:bodyPr anchor="ctr"/>
          <a:lstStyle>
            <a:lvl1pPr>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a:xfrm>
            <a:off x="5222291" y="8700459"/>
            <a:ext cx="1393065" cy="261508"/>
          </a:xfrm>
        </p:spPr>
        <p:txBody>
          <a:bodyPr/>
          <a:lstStyle>
            <a:lvl1pPr>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a:t>
            </a:r>
            <a:r>
              <a:rPr lang="en-AU" dirty="0">
                <a:cs typeface="Segoe UI"/>
              </a:rPr>
              <a:t>Offshore Mining and Civil</a:t>
            </a:r>
            <a:r>
              <a:rPr lang="en-AU" dirty="0"/>
              <a:t>  / </a:t>
            </a:r>
            <a:fld id="{CFD780AD-5876-4BCA-80DC-E96648A7269F}" type="slidenum">
              <a:rPr lang="en-AU" smtClean="0"/>
              <a:pPr/>
              <a:t>‹#›</a:t>
            </a:fld>
            <a:endParaRPr lang="en-AU" dirty="0"/>
          </a:p>
        </p:txBody>
      </p:sp>
      <p:sp>
        <p:nvSpPr>
          <p:cNvPr id="7" name="TextBox 6"/>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16375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2">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132000"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a:xfrm>
            <a:off x="5260022" y="8700459"/>
            <a:ext cx="1355335"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a:t>
            </a:r>
            <a:r>
              <a:rPr lang="en-AU" dirty="0">
                <a:cs typeface="Segoe UI"/>
              </a:rPr>
              <a:t>Offshore Mining and Civil</a:t>
            </a:r>
            <a:r>
              <a:rPr lang="en-AU" dirty="0"/>
              <a:t>  / </a:t>
            </a:r>
            <a:fld id="{CFD780AD-5876-4BCA-80DC-E96648A7269F}" type="slidenum">
              <a:rPr lang="en-AU" smtClean="0"/>
              <a:pPr/>
              <a:t>‹#›</a:t>
            </a:fld>
            <a:endParaRPr lang="en-AU" dirty="0"/>
          </a:p>
        </p:txBody>
      </p:sp>
      <p:sp>
        <p:nvSpPr>
          <p:cNvPr id="7" name="TextBox 6"/>
          <p:cNvSpPr txBox="1"/>
          <p:nvPr userDrawn="1"/>
        </p:nvSpPr>
        <p:spPr>
          <a:xfrm>
            <a:off x="6939441" y="2"/>
            <a:ext cx="2090261" cy="698333"/>
          </a:xfrm>
          <a:prstGeom prst="rect">
            <a:avLst/>
          </a:prstGeom>
          <a:solidFill>
            <a:schemeClr val="accent2"/>
          </a:solidFill>
        </p:spPr>
        <p:txBody>
          <a:bodyPr wrap="square" rtlCol="0">
            <a:spAutoFit/>
          </a:bodyPr>
          <a:lstStyle/>
          <a:p>
            <a:r>
              <a:rPr lang="en-AU" sz="900" b="1" dirty="0">
                <a:solidFill>
                  <a:srgbClr val="FFFFFF"/>
                </a:solidFill>
              </a:rPr>
              <a:t>TIP! </a:t>
            </a:r>
          </a:p>
          <a:p>
            <a:endParaRPr lang="en-AU" sz="788" b="1" dirty="0">
              <a:solidFill>
                <a:srgbClr val="FFFFFF"/>
              </a:solidFill>
            </a:endParaRPr>
          </a:p>
          <a:p>
            <a:r>
              <a:rPr lang="en-AU" sz="750" b="1" dirty="0">
                <a:solidFill>
                  <a:srgbClr val="00AEEF"/>
                </a:solidFill>
              </a:rPr>
              <a:t>RIGHT CLICK </a:t>
            </a:r>
            <a:r>
              <a:rPr lang="en-AU" sz="750" dirty="0">
                <a:solidFill>
                  <a:srgbClr val="FFFFFF"/>
                </a:solidFill>
              </a:rPr>
              <a:t>on the preview slide on the left hand side of your screen, and go to </a:t>
            </a:r>
            <a:r>
              <a:rPr lang="en-AU" sz="750" b="1" dirty="0">
                <a:solidFill>
                  <a:srgbClr val="00AEEF"/>
                </a:solidFill>
              </a:rPr>
              <a:t>LAYOUT</a:t>
            </a:r>
            <a:r>
              <a:rPr lang="en-AU" sz="750" dirty="0">
                <a:solidFill>
                  <a:srgbClr val="FFFFFF"/>
                </a:solidFill>
              </a:rPr>
              <a:t> to reveal more colour options and layouts. </a:t>
            </a:r>
          </a:p>
        </p:txBody>
      </p:sp>
      <p:sp>
        <p:nvSpPr>
          <p:cNvPr id="8" name="TextBox 7"/>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46418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2">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a:xfrm>
            <a:off x="5224511" y="8700459"/>
            <a:ext cx="1390845"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a:t>
            </a:r>
            <a:r>
              <a:rPr lang="en-AU" dirty="0">
                <a:cs typeface="Segoe UI"/>
              </a:rPr>
              <a:t>Offshore Mining and Civil</a:t>
            </a:r>
            <a:r>
              <a:rPr lang="en-AU" dirty="0"/>
              <a:t>  / </a:t>
            </a:r>
            <a:fld id="{CFD780AD-5876-4BCA-80DC-E96648A7269F}" type="slidenum">
              <a:rPr lang="en-AU" smtClean="0"/>
              <a:pPr/>
              <a:t>‹#›</a:t>
            </a:fld>
            <a:endParaRPr lang="en-AU" dirty="0"/>
          </a:p>
        </p:txBody>
      </p:sp>
      <p:sp>
        <p:nvSpPr>
          <p:cNvPr id="7" name="TextBox 6"/>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169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dvisian 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25445788"/>
              </p:ext>
            </p:extLst>
          </p:nvPr>
        </p:nvGraphicFramePr>
        <p:xfrm>
          <a:off x="1192" y="2119"/>
          <a:ext cx="1190"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192" y="2119"/>
                        <a:ext cx="1190" cy="2116"/>
                      </a:xfrm>
                      <a:prstGeom prst="rect">
                        <a:avLst/>
                      </a:prstGeom>
                    </p:spPr>
                  </p:pic>
                </p:oleObj>
              </mc:Fallback>
            </mc:AlternateContent>
          </a:graphicData>
        </a:graphic>
      </p:graphicFrame>
      <p:sp>
        <p:nvSpPr>
          <p:cNvPr id="7" name="Title Placeholder 1"/>
          <p:cNvSpPr>
            <a:spLocks noGrp="1"/>
          </p:cNvSpPr>
          <p:nvPr>
            <p:ph type="title"/>
          </p:nvPr>
        </p:nvSpPr>
        <p:spPr>
          <a:xfrm>
            <a:off x="591257" y="63500"/>
            <a:ext cx="6102678" cy="1076408"/>
          </a:xfrm>
          <a:prstGeom prst="rect">
            <a:avLst/>
          </a:prstGeom>
        </p:spPr>
        <p:txBody>
          <a:bodyPr vert="horz" lIns="0" tIns="0" rIns="0" bIns="0" rtlCol="0" anchor="b" anchorCtr="0">
            <a:normAutofit/>
          </a:bodyPr>
          <a:lstStyle>
            <a:lvl1pPr rtl="0">
              <a:lnSpc>
                <a:spcPct val="100000"/>
              </a:lnSpc>
              <a:defRPr sz="1500" b="1">
                <a:solidFill>
                  <a:srgbClr val="162934"/>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450"/>
              </a:spcAft>
              <a:buNone/>
              <a:defRPr sz="1500">
                <a:latin typeface="Segoe UI" panose="020B0502040204020203" pitchFamily="34" charset="0"/>
                <a:ea typeface="Segoe UI" panose="020B0502040204020203" pitchFamily="34" charset="0"/>
                <a:cs typeface="Segoe UI" panose="020B0502040204020203" pitchFamily="34" charset="0"/>
              </a:defRPr>
            </a:lvl1pPr>
            <a:lvl2pPr marL="269068" indent="-269068" rtl="0">
              <a:spcAft>
                <a:spcPts val="450"/>
              </a:spcAft>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2pPr>
            <a:lvl3pPr marL="536945" indent="-267878" rtl="0">
              <a:spcAft>
                <a:spcPts val="450"/>
              </a:spcAft>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3pPr>
            <a:lvl4pPr marL="794108" indent="-257162" rtl="0">
              <a:spcAft>
                <a:spcPts val="450"/>
              </a:spcAft>
              <a:buClr>
                <a:schemeClr val="accent1"/>
              </a:buClr>
              <a:buSzPct val="90000"/>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4pPr>
            <a:lvl5pPr marL="1073891" indent="-267878">
              <a:spcAft>
                <a:spcPts val="1800"/>
              </a:spcAft>
              <a:buFont typeface="Arial" panose="020B0604020202020204" pitchFamily="34" charset="0"/>
              <a:buChar char="•"/>
              <a:defRPr sz="1500">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p:txBody>
          <a:bodyPr/>
          <a:lstStyle>
            <a:lvl1pPr rtl="0">
              <a:defRPr>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Offshore Mining and Civil  / </a:t>
            </a:r>
            <a:fld id="{CFD780AD-5876-4BCA-80DC-E96648A7269F}" type="slidenum">
              <a:rPr lang="en-AU" smtClean="0"/>
              <a:pPr/>
              <a:t>‹#›</a:t>
            </a:fld>
            <a:endParaRPr lang="en-AU" dirty="0"/>
          </a:p>
        </p:txBody>
      </p:sp>
      <p:sp>
        <p:nvSpPr>
          <p:cNvPr id="6" name="Freeform 5"/>
          <p:cNvSpPr/>
          <p:nvPr userDrawn="1"/>
        </p:nvSpPr>
        <p:spPr>
          <a:xfrm>
            <a:off x="-7063" y="119498"/>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8" name="Parallelogram 11"/>
          <p:cNvSpPr/>
          <p:nvPr userDrawn="1"/>
        </p:nvSpPr>
        <p:spPr>
          <a:xfrm>
            <a:off x="-7065" y="69129"/>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Tree>
    <p:extLst>
      <p:ext uri="{BB962C8B-B14F-4D97-AF65-F5344CB8AC3E}">
        <p14:creationId xmlns:p14="http://schemas.microsoft.com/office/powerpoint/2010/main" val="25074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2">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0"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Slide Number Placeholder 1"/>
          <p:cNvSpPr>
            <a:spLocks noGrp="1"/>
          </p:cNvSpPr>
          <p:nvPr>
            <p:ph type="sldNum" sz="quarter" idx="10"/>
          </p:nvPr>
        </p:nvSpPr>
        <p:spPr>
          <a:xfrm>
            <a:off x="5311066" y="8700459"/>
            <a:ext cx="1304288" cy="261508"/>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cs typeface="Segoe UI"/>
              </a:rPr>
              <a:t>Offshore Mining and Civil </a:t>
            </a:r>
            <a:r>
              <a:rPr lang="en-AU" dirty="0"/>
              <a:t>/ </a:t>
            </a:r>
            <a:fld id="{CFD780AD-5876-4BCA-80DC-E96648A7269F}" type="slidenum">
              <a:rPr lang="en-AU" smtClean="0"/>
              <a:pPr/>
              <a:t>‹#›</a:t>
            </a:fld>
            <a:endParaRPr lang="en-AU" dirty="0"/>
          </a:p>
        </p:txBody>
      </p:sp>
      <p:sp>
        <p:nvSpPr>
          <p:cNvPr id="7" name="TextBox 6"/>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67765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1">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1200"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9" name="Picture Placeholder 18"/>
          <p:cNvSpPr>
            <a:spLocks noGrp="1"/>
          </p:cNvSpPr>
          <p:nvPr>
            <p:ph type="pic" sz="quarter" idx="14"/>
          </p:nvPr>
        </p:nvSpPr>
        <p:spPr>
          <a:xfrm>
            <a:off x="242647" y="461902"/>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08073" y="750857"/>
            <a:ext cx="2916324" cy="672075"/>
          </a:xfrm>
        </p:spPr>
        <p:txBody>
          <a:bodyPr>
            <a:noAutofit/>
          </a:bodyPr>
          <a:lstStyle>
            <a:lvl1pPr rtl="0">
              <a:defRPr sz="1500"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08075" y="15331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8037" y="1710965"/>
            <a:ext cx="2430308" cy="1824203"/>
          </a:xfrm>
        </p:spPr>
        <p:txBody>
          <a:bodyPr>
            <a:noAutofit/>
          </a:bodyPr>
          <a:lstStyle>
            <a:lvl1pPr marL="0" indent="0" rtl="0">
              <a:spcAft>
                <a:spcPts val="0"/>
              </a:spcAft>
              <a:buFont typeface="Arial" panose="020B0604020202020204" pitchFamily="34" charset="0"/>
              <a:buNone/>
              <a:defRPr sz="105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485751" indent="-214303">
              <a:spcAft>
                <a:spcPts val="0"/>
              </a:spcAft>
              <a:buFont typeface="Arial" panose="020B0604020202020204" pitchFamily="34" charset="0"/>
              <a:buChar char="•"/>
              <a:defRPr sz="1050">
                <a:solidFill>
                  <a:schemeClr val="bg1"/>
                </a:solidFill>
              </a:defRPr>
            </a:lvl2pPr>
            <a:lvl3pPr marL="696480" indent="-214303">
              <a:spcAft>
                <a:spcPts val="0"/>
              </a:spcAft>
              <a:buFont typeface="Arial" panose="020B0604020202020204" pitchFamily="34" charset="0"/>
              <a:buChar char="•"/>
              <a:defRPr sz="1050">
                <a:solidFill>
                  <a:schemeClr val="bg1"/>
                </a:solidFill>
              </a:defRPr>
            </a:lvl3pPr>
            <a:lvl4pPr marL="891734" indent="-214303">
              <a:spcAft>
                <a:spcPts val="0"/>
              </a:spcAft>
              <a:buFont typeface="Arial" panose="020B0604020202020204" pitchFamily="34" charset="0"/>
              <a:buChar char="•"/>
              <a:defRPr sz="1050">
                <a:solidFill>
                  <a:schemeClr val="bg1"/>
                </a:solidFill>
              </a:defRPr>
            </a:lvl4pPr>
            <a:lvl5pPr marL="1095320" indent="-214303">
              <a:spcAft>
                <a:spcPts val="0"/>
              </a:spcAft>
              <a:buFont typeface="Arial" panose="020B0604020202020204" pitchFamily="34" charset="0"/>
              <a:buChar char="•"/>
              <a:defRPr sz="1050">
                <a:solidFill>
                  <a:schemeClr val="bg1"/>
                </a:solidFill>
              </a:defRPr>
            </a:lvl5pPr>
          </a:lstStyle>
          <a:p>
            <a:pPr lvl="0"/>
            <a:r>
              <a:rPr lang="en-US"/>
              <a:t>Click to edit Master text styles</a:t>
            </a:r>
          </a:p>
        </p:txBody>
      </p:sp>
      <p:sp>
        <p:nvSpPr>
          <p:cNvPr id="10" name="TextBox 9"/>
          <p:cNvSpPr txBox="1"/>
          <p:nvPr userDrawn="1"/>
        </p:nvSpPr>
        <p:spPr>
          <a:xfrm>
            <a:off x="6939441" y="2"/>
            <a:ext cx="2090261" cy="698333"/>
          </a:xfrm>
          <a:prstGeom prst="rect">
            <a:avLst/>
          </a:prstGeom>
          <a:solidFill>
            <a:schemeClr val="accent2"/>
          </a:solidFill>
        </p:spPr>
        <p:txBody>
          <a:bodyPr wrap="square" rtlCol="0">
            <a:spAutoFit/>
          </a:bodyPr>
          <a:lstStyle/>
          <a:p>
            <a:r>
              <a:rPr lang="en-AU" sz="900" b="1" dirty="0">
                <a:solidFill>
                  <a:srgbClr val="FFFFFF"/>
                </a:solidFill>
              </a:rPr>
              <a:t>TIP! </a:t>
            </a:r>
          </a:p>
          <a:p>
            <a:endParaRPr lang="en-AU" sz="788" b="1" dirty="0">
              <a:solidFill>
                <a:srgbClr val="FFFFFF"/>
              </a:solidFill>
            </a:endParaRPr>
          </a:p>
          <a:p>
            <a:r>
              <a:rPr lang="en-AU" sz="750" b="1" dirty="0">
                <a:solidFill>
                  <a:srgbClr val="00AEEF"/>
                </a:solidFill>
              </a:rPr>
              <a:t>RIGHT CLICK </a:t>
            </a:r>
            <a:r>
              <a:rPr lang="en-AU" sz="750" dirty="0">
                <a:solidFill>
                  <a:srgbClr val="FFFFFF"/>
                </a:solidFill>
              </a:rPr>
              <a:t>on the preview slide on the left hand side of your screen, and go to </a:t>
            </a:r>
            <a:r>
              <a:rPr lang="en-AU" sz="750" b="1" dirty="0">
                <a:solidFill>
                  <a:srgbClr val="00AEEF"/>
                </a:solidFill>
              </a:rPr>
              <a:t>LAYOUT</a:t>
            </a:r>
            <a:r>
              <a:rPr lang="en-AU" sz="750" dirty="0">
                <a:solidFill>
                  <a:srgbClr val="FFFFFF"/>
                </a:solidFill>
              </a:rPr>
              <a:t> to reveal more colour options and layouts. </a:t>
            </a:r>
          </a:p>
        </p:txBody>
      </p:sp>
      <p:sp>
        <p:nvSpPr>
          <p:cNvPr id="14" name="TextBox 13"/>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2471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2">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1200"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a:off x="296653" y="5436099"/>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62080" y="5723237"/>
            <a:ext cx="2916324" cy="672075"/>
          </a:xfrm>
        </p:spPr>
        <p:txBody>
          <a:bodyPr>
            <a:noAutofit/>
          </a:bodyPr>
          <a:lstStyle>
            <a:lvl1pPr rtl="0">
              <a:defRPr sz="1500"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62082" y="6492213"/>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62043" y="6683341"/>
            <a:ext cx="2430308" cy="1824203"/>
          </a:xfrm>
        </p:spPr>
        <p:txBody>
          <a:bodyPr>
            <a:noAutofit/>
          </a:bodyPr>
          <a:lstStyle>
            <a:lvl1pPr marL="0" indent="0" rtl="0">
              <a:spcAft>
                <a:spcPts val="0"/>
              </a:spcAft>
              <a:buNone/>
              <a:defRPr sz="105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271450" indent="0">
              <a:spcAft>
                <a:spcPts val="0"/>
              </a:spcAft>
              <a:buNone/>
              <a:defRPr sz="1050">
                <a:solidFill>
                  <a:schemeClr val="bg1"/>
                </a:solidFill>
              </a:defRPr>
            </a:lvl2pPr>
            <a:lvl3pPr marL="482179" indent="0">
              <a:spcAft>
                <a:spcPts val="0"/>
              </a:spcAft>
              <a:buNone/>
              <a:defRPr sz="1050">
                <a:solidFill>
                  <a:schemeClr val="bg1"/>
                </a:solidFill>
              </a:defRPr>
            </a:lvl3pPr>
            <a:lvl4pPr marL="677432" indent="0">
              <a:spcAft>
                <a:spcPts val="0"/>
              </a:spcAft>
              <a:buNone/>
              <a:defRPr sz="1050">
                <a:solidFill>
                  <a:schemeClr val="bg1"/>
                </a:solidFill>
              </a:defRPr>
            </a:lvl4pPr>
            <a:lvl5pPr marL="881019" indent="0">
              <a:spcAft>
                <a:spcPts val="0"/>
              </a:spcAft>
              <a:buNone/>
              <a:defRPr sz="1050">
                <a:solidFill>
                  <a:schemeClr val="bg1"/>
                </a:solidFill>
              </a:defRPr>
            </a:lvl5pPr>
          </a:lstStyle>
          <a:p>
            <a:pPr lvl="0"/>
            <a:r>
              <a:rPr lang="en-US"/>
              <a:t>Click to edit Master text styles</a:t>
            </a:r>
          </a:p>
        </p:txBody>
      </p:sp>
      <p:sp>
        <p:nvSpPr>
          <p:cNvPr id="9" name="TextBox 8"/>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600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3">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1200"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a:off x="3126430" y="443545"/>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ctr">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3707123" y="635565"/>
            <a:ext cx="2916324" cy="672075"/>
          </a:xfrm>
        </p:spPr>
        <p:txBody>
          <a:bodyPr>
            <a:noAutofit/>
          </a:bodyPr>
          <a:lstStyle>
            <a:lvl1pPr rtl="0">
              <a:defRPr sz="1500"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07126" y="14045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23067" y="1595669"/>
            <a:ext cx="2430308" cy="1824203"/>
          </a:xfrm>
        </p:spPr>
        <p:txBody>
          <a:bodyPr>
            <a:noAutofit/>
          </a:bodyPr>
          <a:lstStyle>
            <a:lvl1pPr marL="0" indent="0" rtl="0">
              <a:spcAft>
                <a:spcPts val="0"/>
              </a:spcAft>
              <a:buNone/>
              <a:defRPr sz="105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271450" indent="0">
              <a:spcAft>
                <a:spcPts val="0"/>
              </a:spcAft>
              <a:buNone/>
              <a:defRPr sz="1050">
                <a:solidFill>
                  <a:schemeClr val="bg1"/>
                </a:solidFill>
              </a:defRPr>
            </a:lvl2pPr>
            <a:lvl3pPr marL="482179" indent="0">
              <a:spcAft>
                <a:spcPts val="0"/>
              </a:spcAft>
              <a:buNone/>
              <a:defRPr sz="1050">
                <a:solidFill>
                  <a:schemeClr val="bg1"/>
                </a:solidFill>
              </a:defRPr>
            </a:lvl3pPr>
            <a:lvl4pPr marL="677432" indent="0">
              <a:spcAft>
                <a:spcPts val="0"/>
              </a:spcAft>
              <a:buNone/>
              <a:defRPr sz="1050">
                <a:solidFill>
                  <a:schemeClr val="bg1"/>
                </a:solidFill>
              </a:defRPr>
            </a:lvl4pPr>
            <a:lvl5pPr marL="881019" indent="0">
              <a:spcAft>
                <a:spcPts val="0"/>
              </a:spcAft>
              <a:buNone/>
              <a:defRPr sz="1050">
                <a:solidFill>
                  <a:schemeClr val="bg1"/>
                </a:solidFill>
              </a:defRPr>
            </a:lvl5pPr>
          </a:lstStyle>
          <a:p>
            <a:pPr lvl="0"/>
            <a:r>
              <a:rPr lang="en-US"/>
              <a:t>Click to edit Master text styles</a:t>
            </a:r>
          </a:p>
        </p:txBody>
      </p:sp>
      <p:sp>
        <p:nvSpPr>
          <p:cNvPr id="10" name="TextBox 9"/>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64490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4">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1200"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flipV="1">
            <a:off x="3122230" y="5506151"/>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l" rtl="0">
              <a:buNone/>
              <a:defRPr sz="10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2" name="Title 1"/>
          <p:cNvSpPr>
            <a:spLocks noGrp="1"/>
          </p:cNvSpPr>
          <p:nvPr>
            <p:ph type="title"/>
          </p:nvPr>
        </p:nvSpPr>
        <p:spPr>
          <a:xfrm>
            <a:off x="3957638" y="5698169"/>
            <a:ext cx="2661609" cy="672075"/>
          </a:xfrm>
        </p:spPr>
        <p:txBody>
          <a:bodyPr>
            <a:noAutofit/>
          </a:bodyPr>
          <a:lstStyle>
            <a:lvl1pPr rtl="0">
              <a:defRPr sz="1500"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48836" y="6467148"/>
            <a:ext cx="2920524"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18867" y="6658277"/>
            <a:ext cx="2430308" cy="1824203"/>
          </a:xfrm>
        </p:spPr>
        <p:txBody>
          <a:bodyPr>
            <a:noAutofit/>
          </a:bodyPr>
          <a:lstStyle>
            <a:lvl1pPr marL="0" indent="0">
              <a:spcAft>
                <a:spcPts val="0"/>
              </a:spcAft>
              <a:buNone/>
              <a:defRPr sz="1050">
                <a:solidFill>
                  <a:schemeClr val="bg1"/>
                </a:solidFill>
              </a:defRPr>
            </a:lvl1pPr>
            <a:lvl2pPr marL="271450" indent="0">
              <a:spcAft>
                <a:spcPts val="0"/>
              </a:spcAft>
              <a:buNone/>
              <a:defRPr sz="1050">
                <a:solidFill>
                  <a:schemeClr val="bg1"/>
                </a:solidFill>
              </a:defRPr>
            </a:lvl2pPr>
            <a:lvl3pPr marL="482179" indent="0">
              <a:spcAft>
                <a:spcPts val="0"/>
              </a:spcAft>
              <a:buNone/>
              <a:defRPr sz="1050">
                <a:solidFill>
                  <a:schemeClr val="bg1"/>
                </a:solidFill>
              </a:defRPr>
            </a:lvl3pPr>
            <a:lvl4pPr marL="677432" indent="0">
              <a:spcAft>
                <a:spcPts val="0"/>
              </a:spcAft>
              <a:buNone/>
              <a:defRPr sz="1050">
                <a:solidFill>
                  <a:schemeClr val="bg1"/>
                </a:solidFill>
              </a:defRPr>
            </a:lvl4pPr>
            <a:lvl5pPr marL="881019" indent="0">
              <a:spcAft>
                <a:spcPts val="0"/>
              </a:spcAft>
              <a:buNone/>
              <a:defRPr sz="1050">
                <a:solidFill>
                  <a:schemeClr val="bg1"/>
                </a:solidFill>
              </a:defRPr>
            </a:lvl5pPr>
          </a:lstStyle>
          <a:p>
            <a:pPr lvl="0"/>
            <a:r>
              <a:rPr lang="en-US"/>
              <a:t>Click to edit Master text styles</a:t>
            </a:r>
          </a:p>
        </p:txBody>
      </p:sp>
      <p:sp>
        <p:nvSpPr>
          <p:cNvPr id="9" name="TextBox 8"/>
          <p:cNvSpPr txBox="1"/>
          <p:nvPr userDrawn="1"/>
        </p:nvSpPr>
        <p:spPr>
          <a:xfrm rot="19399920">
            <a:off x="1162052" y="3802696"/>
            <a:ext cx="4924425" cy="923330"/>
          </a:xfrm>
          <a:prstGeom prst="rect">
            <a:avLst/>
          </a:prstGeom>
          <a:noFill/>
        </p:spPr>
        <p:txBody>
          <a:bodyPr wrap="square" rtlCol="0">
            <a:spAutoFit/>
          </a:bodyPr>
          <a:lstStyle/>
          <a:p>
            <a:r>
              <a:rPr lang="en-AU" sz="5400" dirty="0">
                <a:solidFill>
                  <a:srgbClr val="FFFFFF">
                    <a:lumMod val="95000"/>
                  </a:srgbClr>
                </a:solidFill>
                <a:ea typeface="Segoe UI" panose="020B0502040204020203" pitchFamily="34" charset="0"/>
                <a:cs typeface="Segoe UI" panose="020B0502040204020203" pitchFamily="34" charset="0"/>
              </a:rPr>
              <a:t>CONFIDENTIAL</a:t>
            </a:r>
            <a:endParaRPr lang="en-US" sz="5400" dirty="0">
              <a:solidFill>
                <a:srgbClr val="FFFFFF">
                  <a:lumMod val="95000"/>
                </a:srgbClr>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4035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dvisian Cover white">
    <p:spTree>
      <p:nvGrpSpPr>
        <p:cNvPr id="1" name=""/>
        <p:cNvGrpSpPr/>
        <p:nvPr/>
      </p:nvGrpSpPr>
      <p:grpSpPr>
        <a:xfrm>
          <a:off x="0" y="0"/>
          <a:ext cx="0" cy="0"/>
          <a:chOff x="0" y="0"/>
          <a:chExt cx="0" cy="0"/>
        </a:xfrm>
      </p:grpSpPr>
      <p:sp>
        <p:nvSpPr>
          <p:cNvPr id="10" name="Freeform 9"/>
          <p:cNvSpPr/>
          <p:nvPr userDrawn="1"/>
        </p:nvSpPr>
        <p:spPr>
          <a:xfrm>
            <a:off x="3080385" y="-30480"/>
            <a:ext cx="3794760" cy="7345680"/>
          </a:xfrm>
          <a:custGeom>
            <a:avLst/>
            <a:gdLst>
              <a:gd name="connsiteX0" fmla="*/ 0 w 5059680"/>
              <a:gd name="connsiteY0" fmla="*/ 7620 h 5509260"/>
              <a:gd name="connsiteX1" fmla="*/ 2095500 w 5059680"/>
              <a:gd name="connsiteY1" fmla="*/ 5509260 h 5509260"/>
              <a:gd name="connsiteX2" fmla="*/ 5059680 w 5059680"/>
              <a:gd name="connsiteY2" fmla="*/ 5509260 h 5509260"/>
              <a:gd name="connsiteX3" fmla="*/ 5059680 w 5059680"/>
              <a:gd name="connsiteY3" fmla="*/ 0 h 5509260"/>
              <a:gd name="connsiteX4" fmla="*/ 0 w 5059680"/>
              <a:gd name="connsiteY4" fmla="*/ 7620 h 5509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9680" h="5509260">
                <a:moveTo>
                  <a:pt x="0" y="7620"/>
                </a:moveTo>
                <a:lnTo>
                  <a:pt x="2095500" y="5509260"/>
                </a:lnTo>
                <a:lnTo>
                  <a:pt x="5059680" y="5509260"/>
                </a:lnTo>
                <a:lnTo>
                  <a:pt x="5059680" y="0"/>
                </a:lnTo>
                <a:lnTo>
                  <a:pt x="0" y="762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13" name="Parallelogram 10"/>
          <p:cNvSpPr/>
          <p:nvPr userDrawn="1"/>
        </p:nvSpPr>
        <p:spPr>
          <a:xfrm>
            <a:off x="0" y="921328"/>
            <a:ext cx="5696472" cy="8222677"/>
          </a:xfrm>
          <a:custGeom>
            <a:avLst/>
            <a:gdLst/>
            <a:ahLst/>
            <a:cxnLst/>
            <a:rect l="l" t="t" r="r" b="b"/>
            <a:pathLst>
              <a:path w="7595296" h="6167008">
                <a:moveTo>
                  <a:pt x="979814" y="0"/>
                </a:moveTo>
                <a:lnTo>
                  <a:pt x="7595296" y="0"/>
                </a:lnTo>
                <a:lnTo>
                  <a:pt x="4949095" y="6167008"/>
                </a:lnTo>
                <a:lnTo>
                  <a:pt x="4805101" y="6167008"/>
                </a:lnTo>
                <a:lnTo>
                  <a:pt x="7389158" y="144828"/>
                </a:lnTo>
                <a:lnTo>
                  <a:pt x="1086113" y="144828"/>
                </a:lnTo>
                <a:lnTo>
                  <a:pt x="0" y="2676029"/>
                </a:lnTo>
                <a:lnTo>
                  <a:pt x="0" y="228347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pic>
        <p:nvPicPr>
          <p:cNvPr id="18"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59708" y="7776864"/>
            <a:ext cx="1350150" cy="827589"/>
          </a:xfrm>
          <a:prstGeom prst="rect">
            <a:avLst/>
          </a:prstGeom>
        </p:spPr>
      </p:pic>
      <p:sp>
        <p:nvSpPr>
          <p:cNvPr id="20" name="Date Placeholder 3"/>
          <p:cNvSpPr txBox="1">
            <a:spLocks/>
          </p:cNvSpPr>
          <p:nvPr userDrawn="1"/>
        </p:nvSpPr>
        <p:spPr>
          <a:xfrm>
            <a:off x="620316" y="8368795"/>
            <a:ext cx="952128" cy="288032"/>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521" dirty="0">
                <a:solidFill>
                  <a:srgbClr val="000000"/>
                </a:solidFill>
                <a:ea typeface="Segoe UI" panose="020B0502040204020203" pitchFamily="34" charset="0"/>
                <a:cs typeface="Segoe UI" panose="020B0502040204020203" pitchFamily="34" charset="0"/>
              </a:rPr>
              <a:t>www.</a:t>
            </a:r>
            <a:r>
              <a:rPr lang="en-AU" sz="521" b="1" dirty="0">
                <a:solidFill>
                  <a:srgbClr val="000000"/>
                </a:solidFill>
                <a:ea typeface="Segoe UI" panose="020B0502040204020203" pitchFamily="34" charset="0"/>
                <a:cs typeface="Segoe UI" panose="020B0502040204020203" pitchFamily="34" charset="0"/>
              </a:rPr>
              <a:t>Offshore Mining and Civil</a:t>
            </a:r>
            <a:r>
              <a:rPr lang="en-AU" sz="521" dirty="0">
                <a:solidFill>
                  <a:srgbClr val="000000"/>
                </a:solidFill>
                <a:ea typeface="Segoe UI" panose="020B0502040204020203" pitchFamily="34" charset="0"/>
                <a:cs typeface="Segoe UI" panose="020B0502040204020203" pitchFamily="34" charset="0"/>
              </a:rPr>
              <a:t>.com</a:t>
            </a:r>
          </a:p>
        </p:txBody>
      </p:sp>
      <p:sp>
        <p:nvSpPr>
          <p:cNvPr id="3" name="Title 2"/>
          <p:cNvSpPr>
            <a:spLocks noGrp="1"/>
          </p:cNvSpPr>
          <p:nvPr>
            <p:ph type="title"/>
          </p:nvPr>
        </p:nvSpPr>
        <p:spPr>
          <a:xfrm>
            <a:off x="620319" y="2873720"/>
            <a:ext cx="2992859" cy="1990389"/>
          </a:xfrm>
        </p:spPr>
        <p:txBody>
          <a:bodyPr/>
          <a:lstStyle>
            <a:lvl1pPr rtl="0">
              <a:defRPr/>
            </a:lvl1pPr>
          </a:lstStyle>
          <a:p>
            <a:r>
              <a:rPr lang="en-US"/>
              <a:t>Click to edit Master title style</a:t>
            </a:r>
            <a:endParaRPr lang="en-AU" dirty="0"/>
          </a:p>
        </p:txBody>
      </p:sp>
      <p:sp>
        <p:nvSpPr>
          <p:cNvPr id="6" name="Text Placeholder 5"/>
          <p:cNvSpPr>
            <a:spLocks noGrp="1"/>
          </p:cNvSpPr>
          <p:nvPr>
            <p:ph type="body" sz="quarter" idx="10"/>
          </p:nvPr>
        </p:nvSpPr>
        <p:spPr>
          <a:xfrm>
            <a:off x="620319" y="5080008"/>
            <a:ext cx="3022997" cy="524933"/>
          </a:xfrm>
        </p:spPr>
        <p:txBody>
          <a:bodyPr>
            <a:noAutofit/>
          </a:bodyPr>
          <a:lstStyle>
            <a:lvl1pPr rtl="0">
              <a:spcAft>
                <a:spcPts val="0"/>
              </a:spcAft>
              <a:defRPr sz="938"/>
            </a:lvl1pPr>
            <a:lvl2pPr>
              <a:defRPr sz="938"/>
            </a:lvl2pPr>
            <a:lvl3pPr>
              <a:defRPr sz="938"/>
            </a:lvl3pPr>
            <a:lvl4pPr>
              <a:defRPr sz="938"/>
            </a:lvl4pPr>
            <a:lvl5pPr>
              <a:defRPr sz="938"/>
            </a:lvl5pPr>
          </a:lstStyle>
          <a:p>
            <a:pPr lvl="0"/>
            <a:r>
              <a:rPr lang="en-US"/>
              <a:t>Click to edit Master text styles</a:t>
            </a:r>
          </a:p>
        </p:txBody>
      </p:sp>
      <p:sp>
        <p:nvSpPr>
          <p:cNvPr id="8" name="Text Placeholder 7"/>
          <p:cNvSpPr>
            <a:spLocks noGrp="1"/>
          </p:cNvSpPr>
          <p:nvPr>
            <p:ph type="body" sz="quarter" idx="11"/>
          </p:nvPr>
        </p:nvSpPr>
        <p:spPr>
          <a:xfrm>
            <a:off x="620319" y="6487649"/>
            <a:ext cx="3044429" cy="711200"/>
          </a:xfrm>
        </p:spPr>
        <p:txBody>
          <a:bodyPr>
            <a:noAutofit/>
          </a:bodyPr>
          <a:lstStyle>
            <a:lvl1pPr marL="0" indent="0" rtl="0">
              <a:spcAft>
                <a:spcPts val="0"/>
              </a:spcAft>
              <a:buFont typeface="Arial" panose="020B0604020202020204" pitchFamily="34" charset="0"/>
              <a:buNone/>
              <a:defRPr sz="521"/>
            </a:lvl1pPr>
            <a:lvl2pPr marL="0" indent="0">
              <a:buNone/>
              <a:defRPr sz="521"/>
            </a:lvl2pPr>
            <a:lvl3pPr marL="186838" indent="0">
              <a:buNone/>
              <a:defRPr sz="521"/>
            </a:lvl3pPr>
            <a:lvl4pPr marL="372849" indent="0">
              <a:buNone/>
              <a:defRPr sz="521"/>
            </a:lvl4pPr>
            <a:lvl5pPr marL="559687" indent="0">
              <a:buNone/>
              <a:defRPr sz="521"/>
            </a:lvl5pPr>
          </a:lstStyle>
          <a:p>
            <a:pPr lvl="0"/>
            <a:r>
              <a:rPr lang="en-US"/>
              <a:t>Click to edit Master text styles</a:t>
            </a:r>
          </a:p>
        </p:txBody>
      </p:sp>
      <p:grpSp>
        <p:nvGrpSpPr>
          <p:cNvPr id="11" name="Group 10"/>
          <p:cNvGrpSpPr/>
          <p:nvPr userDrawn="1"/>
        </p:nvGrpSpPr>
        <p:grpSpPr>
          <a:xfrm>
            <a:off x="6939441" y="26"/>
            <a:ext cx="2557463" cy="8863937"/>
            <a:chOff x="9252585" y="0"/>
            <a:chExt cx="3409950" cy="6647953"/>
          </a:xfrm>
        </p:grpSpPr>
        <p:sp>
          <p:nvSpPr>
            <p:cNvPr id="12" name="TextBox 11"/>
            <p:cNvSpPr txBox="1"/>
            <p:nvPr userDrawn="1"/>
          </p:nvSpPr>
          <p:spPr>
            <a:xfrm>
              <a:off x="9252585" y="0"/>
              <a:ext cx="3409950" cy="2533867"/>
            </a:xfrm>
            <a:prstGeom prst="rect">
              <a:avLst/>
            </a:prstGeom>
            <a:solidFill>
              <a:schemeClr val="accent2"/>
            </a:solidFill>
          </p:spPr>
          <p:txBody>
            <a:bodyPr wrap="square" rtlCol="0">
              <a:spAutoFit/>
            </a:bodyPr>
            <a:lstStyle/>
            <a:p>
              <a:r>
                <a:rPr lang="en-AU" sz="625" b="1" dirty="0">
                  <a:solidFill>
                    <a:srgbClr val="FFFFFF"/>
                  </a:solidFill>
                </a:rPr>
                <a:t>INSTRUCTIONS FOR CHANGING </a:t>
              </a:r>
              <a:br>
                <a:rPr lang="en-AU" sz="625" b="1" dirty="0">
                  <a:solidFill>
                    <a:srgbClr val="FFFFFF"/>
                  </a:solidFill>
                </a:rPr>
              </a:br>
              <a:r>
                <a:rPr lang="en-AU" sz="625" b="1" dirty="0">
                  <a:solidFill>
                    <a:srgbClr val="FFFFFF"/>
                  </a:solidFill>
                </a:rPr>
                <a:t>COVER IMAGES:</a:t>
              </a:r>
            </a:p>
            <a:p>
              <a:pPr marL="148808" indent="-148808">
                <a:buFont typeface="Arial" panose="020B0604020202020204" pitchFamily="34" charset="0"/>
                <a:buChar char="•"/>
              </a:pPr>
              <a:endParaRPr lang="en-AU" sz="521" dirty="0">
                <a:solidFill>
                  <a:srgbClr val="FFFFFF"/>
                </a:solidFill>
                <a:latin typeface="Segoe UI Semibold" panose="020B0702040204020203" pitchFamily="34" charset="0"/>
              </a:endParaRPr>
            </a:p>
            <a:p>
              <a:pPr marL="148808" indent="-148808">
                <a:buFont typeface="+mj-lt"/>
                <a:buAutoNum type="arabicPeriod"/>
              </a:pPr>
              <a:r>
                <a:rPr lang="en-AU" sz="521" dirty="0">
                  <a:solidFill>
                    <a:srgbClr val="FFFFFF"/>
                  </a:solidFill>
                  <a:latin typeface="Segoe UI Semibold" panose="020B0702040204020203" pitchFamily="34" charset="0"/>
                </a:rPr>
                <a:t>Select both images by holding down </a:t>
              </a:r>
              <a:br>
                <a:rPr lang="en-AU" sz="521" dirty="0">
                  <a:solidFill>
                    <a:srgbClr val="FFFFFF"/>
                  </a:solidFill>
                  <a:latin typeface="Segoe UI Semibold" panose="020B0702040204020203" pitchFamily="34" charset="0"/>
                </a:rPr>
              </a:br>
              <a:r>
                <a:rPr lang="en-AU" sz="521" dirty="0">
                  <a:solidFill>
                    <a:srgbClr val="FFFFFF"/>
                  </a:solidFill>
                  <a:latin typeface="Segoe UI Semibold" panose="020B0702040204020203" pitchFamily="34" charset="0"/>
                </a:rPr>
                <a:t>the ‘Ctrl’ button</a:t>
              </a:r>
            </a:p>
            <a:p>
              <a:pPr marL="148808" indent="-148808">
                <a:buFont typeface="+mj-lt"/>
                <a:buAutoNum type="arabicPeriod"/>
              </a:pPr>
              <a:r>
                <a:rPr lang="en-AU" sz="521" dirty="0">
                  <a:solidFill>
                    <a:srgbClr val="FFFFFF"/>
                  </a:solidFill>
                  <a:latin typeface="Segoe UI Semibold" panose="020B0702040204020203" pitchFamily="34" charset="0"/>
                </a:rPr>
                <a:t>Go to </a:t>
              </a:r>
              <a:r>
                <a:rPr lang="en-AU" sz="521" b="1" dirty="0">
                  <a:solidFill>
                    <a:srgbClr val="00AEEF"/>
                  </a:solidFill>
                </a:rPr>
                <a:t>DRAWING TOOLS</a:t>
              </a:r>
            </a:p>
            <a:p>
              <a:pPr marL="148808" indent="-148808">
                <a:buFont typeface="+mj-lt"/>
                <a:buAutoNum type="arabicPeriod"/>
              </a:pPr>
              <a:r>
                <a:rPr lang="en-AU" sz="521" dirty="0">
                  <a:solidFill>
                    <a:srgbClr val="FFFFFF"/>
                  </a:solidFill>
                  <a:latin typeface="Segoe UI Semibold" panose="020B0702040204020203" pitchFamily="34" charset="0"/>
                </a:rPr>
                <a:t>Click the arrow next to </a:t>
              </a:r>
              <a:r>
                <a:rPr lang="en-AU" sz="521" b="1" dirty="0">
                  <a:solidFill>
                    <a:srgbClr val="00AEEF"/>
                  </a:solidFill>
                </a:rPr>
                <a:t>SHAPE FILL</a:t>
              </a:r>
            </a:p>
            <a:p>
              <a:pPr marL="148808" indent="-148808">
                <a:buFont typeface="+mj-lt"/>
                <a:buAutoNum type="arabicPeriod"/>
              </a:pPr>
              <a:r>
                <a:rPr lang="en-AU" sz="521" dirty="0">
                  <a:solidFill>
                    <a:srgbClr val="FFFFFF"/>
                  </a:solidFill>
                  <a:latin typeface="Segoe UI Semibold" panose="020B0702040204020203" pitchFamily="34" charset="0"/>
                </a:rPr>
                <a:t>Click </a:t>
              </a:r>
              <a:r>
                <a:rPr lang="en-AU" sz="521" b="1" dirty="0">
                  <a:solidFill>
                    <a:srgbClr val="00AEEF"/>
                  </a:solidFill>
                </a:rPr>
                <a:t>PICTURE</a:t>
              </a:r>
            </a:p>
            <a:p>
              <a:pPr marL="148808" indent="-148808">
                <a:buFont typeface="+mj-lt"/>
                <a:buAutoNum type="arabicPeriod"/>
              </a:pPr>
              <a:r>
                <a:rPr lang="en-AU" sz="521" dirty="0">
                  <a:solidFill>
                    <a:srgbClr val="FFFFFF"/>
                  </a:solidFill>
                  <a:latin typeface="Segoe UI Semibold" panose="020B0702040204020203" pitchFamily="34" charset="0"/>
                </a:rPr>
                <a:t>Locate the folder that contains the picture you want to use and click </a:t>
              </a:r>
              <a:r>
                <a:rPr lang="en-AU" sz="521" b="1" dirty="0">
                  <a:solidFill>
                    <a:srgbClr val="00AEEF"/>
                  </a:solidFill>
                </a:rPr>
                <a:t>INSERT</a:t>
              </a: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a:buFont typeface="+mj-lt"/>
                <a:buNone/>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Arial" panose="020B0604020202020204" pitchFamily="34" charset="0"/>
                <a:buChar char="•"/>
              </a:pPr>
              <a:endParaRPr lang="en-AU" sz="521" dirty="0">
                <a:solidFill>
                  <a:srgbClr val="FFFFFF"/>
                </a:solidFill>
                <a:latin typeface="Segoe UI Semibold" panose="020B0702040204020203" pitchFamily="34" charset="0"/>
              </a:endParaRPr>
            </a:p>
            <a:p>
              <a:pPr>
                <a:buFont typeface="Arial" panose="020B0604020202020204" pitchFamily="34" charset="0"/>
                <a:buNone/>
              </a:pPr>
              <a:r>
                <a:rPr lang="en-AU" sz="625" b="1" dirty="0">
                  <a:solidFill>
                    <a:srgbClr val="FFFFFF"/>
                  </a:solidFill>
                </a:rPr>
                <a:t>INSTRUCTIONS TO RESIZE AND REPOSITION YOUR IMAGE:</a:t>
              </a:r>
            </a:p>
            <a:p>
              <a:pPr>
                <a:buFont typeface="Arial" panose="020B0604020202020204" pitchFamily="34" charset="0"/>
                <a:buNone/>
              </a:pPr>
              <a:endParaRPr lang="en-AU" sz="521" b="1" dirty="0">
                <a:solidFill>
                  <a:srgbClr val="FFFFFF"/>
                </a:solidFill>
              </a:endParaRPr>
            </a:p>
            <a:p>
              <a:pPr marL="148808" indent="-148808">
                <a:buFont typeface="+mj-lt"/>
                <a:buAutoNum type="arabicPeriod"/>
                <a:defRPr/>
              </a:pPr>
              <a:r>
                <a:rPr lang="en-AU" sz="521" dirty="0">
                  <a:solidFill>
                    <a:srgbClr val="FFFFFF"/>
                  </a:solidFill>
                  <a:latin typeface="Segoe UI Semibold" panose="020B0702040204020203" pitchFamily="34" charset="0"/>
                </a:rPr>
                <a:t>Click the image you want to edit</a:t>
              </a:r>
            </a:p>
            <a:p>
              <a:pPr marL="148808" indent="-148808">
                <a:buFont typeface="+mj-lt"/>
                <a:buAutoNum type="arabicPeriod"/>
                <a:defRPr/>
              </a:pPr>
              <a:r>
                <a:rPr lang="en-AU" sz="521" dirty="0">
                  <a:solidFill>
                    <a:srgbClr val="FFFFFF"/>
                  </a:solidFill>
                  <a:latin typeface="Segoe UI Semibold" panose="020B0702040204020203" pitchFamily="34" charset="0"/>
                </a:rPr>
                <a:t>Go to </a:t>
              </a:r>
              <a:r>
                <a:rPr lang="en-AU" sz="521" b="1" dirty="0">
                  <a:solidFill>
                    <a:srgbClr val="00AEEF"/>
                  </a:solidFill>
                </a:rPr>
                <a:t>PICTURE TOOLS </a:t>
              </a:r>
            </a:p>
            <a:p>
              <a:pPr marL="148808" indent="-148808">
                <a:buFont typeface="+mj-lt"/>
                <a:buAutoNum type="arabicPeriod"/>
                <a:defRPr/>
              </a:pPr>
              <a:r>
                <a:rPr lang="en-AU" sz="521" dirty="0">
                  <a:solidFill>
                    <a:srgbClr val="FFFFFF"/>
                  </a:solidFill>
                  <a:latin typeface="Segoe UI Semibold" panose="020B0702040204020203" pitchFamily="34" charset="0"/>
                </a:rPr>
                <a:t>To maintain the original size and format </a:t>
              </a:r>
              <a:br>
                <a:rPr lang="en-AU" sz="521" dirty="0">
                  <a:solidFill>
                    <a:srgbClr val="FFFFFF"/>
                  </a:solidFill>
                  <a:latin typeface="Segoe UI Semibold" panose="020B0702040204020203" pitchFamily="34" charset="0"/>
                </a:rPr>
              </a:br>
              <a:r>
                <a:rPr lang="en-AU" sz="521" dirty="0">
                  <a:solidFill>
                    <a:srgbClr val="FFFFFF"/>
                  </a:solidFill>
                  <a:latin typeface="Segoe UI Semibold" panose="020B0702040204020203" pitchFamily="34" charset="0"/>
                </a:rPr>
                <a:t>of the image, click the arrow under </a:t>
              </a:r>
              <a:r>
                <a:rPr lang="en-AU" sz="521" b="1" dirty="0">
                  <a:solidFill>
                    <a:srgbClr val="00AEEF"/>
                  </a:solidFill>
                </a:rPr>
                <a:t>CROP</a:t>
              </a:r>
              <a:r>
                <a:rPr lang="en-AU" sz="521" dirty="0">
                  <a:solidFill>
                    <a:srgbClr val="FFFFFF"/>
                  </a:solidFill>
                  <a:latin typeface="Segoe UI Semibold" panose="020B0702040204020203" pitchFamily="34" charset="0"/>
                </a:rPr>
                <a:t> and click </a:t>
              </a:r>
              <a:r>
                <a:rPr lang="en-AU" sz="521" b="1" dirty="0">
                  <a:solidFill>
                    <a:srgbClr val="00AEEF"/>
                  </a:solidFill>
                </a:rPr>
                <a:t>FIT</a:t>
              </a: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r>
                <a:rPr lang="en-AU" sz="521" dirty="0">
                  <a:solidFill>
                    <a:srgbClr val="FFFFFF"/>
                  </a:solidFill>
                  <a:latin typeface="Segoe UI Semibold" panose="020B0702040204020203" pitchFamily="34" charset="0"/>
                </a:rPr>
                <a:t>To reposition or resize your image, click </a:t>
              </a:r>
              <a:r>
                <a:rPr lang="en-AU" sz="521" b="1" dirty="0">
                  <a:solidFill>
                    <a:srgbClr val="00AEEF"/>
                  </a:solidFill>
                </a:rPr>
                <a:t>CROP</a:t>
              </a:r>
              <a:r>
                <a:rPr lang="en-AU" sz="521" dirty="0">
                  <a:solidFill>
                    <a:srgbClr val="FFFFFF"/>
                  </a:solidFill>
                  <a:latin typeface="Segoe UI Semibold" panose="020B0702040204020203" pitchFamily="34" charset="0"/>
                </a:rPr>
                <a:t>, and use the circles on the edge of the image</a:t>
              </a: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p:txBody>
        </p:sp>
        <p:pic>
          <p:nvPicPr>
            <p:cNvPr id="14" name="Picture 13"/>
            <p:cNvPicPr/>
            <p:nvPr userDrawn="1"/>
          </p:nvPicPr>
          <p:blipFill rotWithShape="1">
            <a:blip r:embed="rId3"/>
            <a:srcRect r="51341"/>
            <a:stretch/>
          </p:blipFill>
          <p:spPr bwMode="auto">
            <a:xfrm>
              <a:off x="9629774" y="1683234"/>
              <a:ext cx="1962152" cy="1325024"/>
            </a:xfrm>
            <a:prstGeom prst="rect">
              <a:avLst/>
            </a:prstGeom>
            <a:ln>
              <a:noFill/>
            </a:ln>
            <a:extLst>
              <a:ext uri="{53640926-AAD7-44D8-BBD7-CCE9431645EC}">
                <a14:shadowObscured xmlns:a14="http://schemas.microsoft.com/office/drawing/2010/main"/>
              </a:ext>
            </a:extLst>
          </p:spPr>
        </p:pic>
        <p:pic>
          <p:nvPicPr>
            <p:cNvPr id="1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629774" y="4508500"/>
              <a:ext cx="849363" cy="1139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5"/>
            <p:cNvPicPr/>
            <p:nvPr userDrawn="1"/>
          </p:nvPicPr>
          <p:blipFill rotWithShape="1">
            <a:blip r:embed="rId5"/>
            <a:srcRect l="28204" t="64535" r="61298" b="23643"/>
            <a:stretch/>
          </p:blipFill>
          <p:spPr bwMode="auto">
            <a:xfrm>
              <a:off x="9629774" y="6089637"/>
              <a:ext cx="1508895" cy="558316"/>
            </a:xfrm>
            <a:prstGeom prst="rect">
              <a:avLst/>
            </a:prstGeom>
            <a:ln>
              <a:noFill/>
            </a:ln>
            <a:extLst>
              <a:ext uri="{53640926-AAD7-44D8-BBD7-CCE9431645EC}">
                <a14:shadowObscured xmlns:a14="http://schemas.microsoft.com/office/drawing/2010/main"/>
              </a:ext>
            </a:extLst>
          </p:spPr>
        </p:pic>
        <p:sp>
          <p:nvSpPr>
            <p:cNvPr id="19" name="Oval 18"/>
            <p:cNvSpPr/>
            <p:nvPr userDrawn="1"/>
          </p:nvSpPr>
          <p:spPr>
            <a:xfrm>
              <a:off x="9896475" y="6276596"/>
              <a:ext cx="582662" cy="21602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grpSp>
    </p:spTree>
    <p:extLst>
      <p:ext uri="{BB962C8B-B14F-4D97-AF65-F5344CB8AC3E}">
        <p14:creationId xmlns:p14="http://schemas.microsoft.com/office/powerpoint/2010/main" val="10997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Advisian title &amp; text 2 column">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4" name="Rectangle 3"/>
          <p:cNvSpPr/>
          <p:nvPr userDrawn="1"/>
        </p:nvSpPr>
        <p:spPr>
          <a:xfrm>
            <a:off x="250034" y="5178731"/>
            <a:ext cx="6372225" cy="1166345"/>
          </a:xfrm>
          <a:prstGeom prst="rect">
            <a:avLst/>
          </a:prstGeom>
        </p:spPr>
        <p:txBody>
          <a:bodyPr wrap="square">
            <a:spAutoFit/>
          </a:bodyPr>
          <a:lstStyle/>
          <a:p>
            <a:pPr>
              <a:spcAft>
                <a:spcPts val="313"/>
              </a:spcAft>
            </a:pPr>
            <a:r>
              <a:rPr lang="en-AU" sz="521" b="1" dirty="0">
                <a:solidFill>
                  <a:srgbClr val="A38F68"/>
                </a:solidFill>
                <a:cs typeface="Segoe UI"/>
              </a:rPr>
              <a:t>DISCLAIMER</a:t>
            </a:r>
          </a:p>
          <a:p>
            <a:pPr>
              <a:spcAft>
                <a:spcPts val="313"/>
              </a:spcAft>
            </a:pPr>
            <a:r>
              <a:rPr lang="en-AU" sz="521" dirty="0">
                <a:solidFill>
                  <a:srgbClr val="000000"/>
                </a:solidFill>
                <a:cs typeface="Segoe UI"/>
              </a:rPr>
              <a:t>This presentation has been prepared by a representative of Offshore Mining and Civil.</a:t>
            </a:r>
          </a:p>
          <a:p>
            <a:pPr>
              <a:spcAft>
                <a:spcPts val="313"/>
              </a:spcAft>
            </a:pPr>
            <a:r>
              <a:rPr lang="en-AU" sz="521" dirty="0">
                <a:solidFill>
                  <a:srgbClr val="000000"/>
                </a:solidFill>
                <a:cs typeface="Segoe UI"/>
              </a:rPr>
              <a:t>The presentation contains the professional and personal opinions of the presenter, which are given in good faith.  As such, opinions presented herein may not always necessarily reflect the position of Offshore Mining and Civil as a whole, its officers or executive.</a:t>
            </a:r>
          </a:p>
          <a:p>
            <a:pPr>
              <a:spcAft>
                <a:spcPts val="313"/>
              </a:spcAft>
            </a:pPr>
            <a:r>
              <a:rPr lang="en-AU" sz="521" dirty="0">
                <a:solidFill>
                  <a:srgbClr val="000000"/>
                </a:solidFill>
                <a:cs typeface="Segoe UI"/>
              </a:rPr>
              <a:t>Any forward-looking statements included in this presentation will involve subjective judgment and analysis and are subject to uncertainties, risks and contingencies—many of which are outside the control of, and may be unknown to, Offshore Mining and Civil.  </a:t>
            </a:r>
          </a:p>
          <a:p>
            <a:pPr>
              <a:spcAft>
                <a:spcPts val="313"/>
              </a:spcAft>
            </a:pPr>
            <a:r>
              <a:rPr lang="en-AU" sz="521" dirty="0">
                <a:solidFill>
                  <a:srgbClr val="000000"/>
                </a:solidFill>
                <a:cs typeface="Segoe UI"/>
              </a:rPr>
              <a:t>Offshore Mining and Civil and all associated entities and representatives make no representation or warranty as to the accuracy, reliability or completeness of information in this document and do not take responsibility for updating any information or correcting any error or omission that may become apparent after this document has been issued.</a:t>
            </a:r>
          </a:p>
          <a:p>
            <a:pPr>
              <a:spcAft>
                <a:spcPts val="313"/>
              </a:spcAft>
            </a:pPr>
            <a:r>
              <a:rPr lang="en-AU" sz="521" dirty="0">
                <a:solidFill>
                  <a:srgbClr val="000000"/>
                </a:solidFill>
                <a:cs typeface="Segoe UI"/>
              </a:rPr>
              <a:t>To the extent permitted by law, Offshore Mining and Civil and its officers, employees, related bodies and agents disclaim all liability—direct, indirect or consequential (and whether or not arising out of the negligence, default or lack of care of Offshore Mining and Civil and/or any of its agents)—for any loss or damage suffered by a recipient or other persons arising out of, or in connection with, any use or reliance on this presentation or information.</a:t>
            </a:r>
          </a:p>
        </p:txBody>
      </p:sp>
    </p:spTree>
    <p:extLst>
      <p:ext uri="{BB962C8B-B14F-4D97-AF65-F5344CB8AC3E}">
        <p14:creationId xmlns:p14="http://schemas.microsoft.com/office/powerpoint/2010/main" val="65687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dvisian Title no content">
    <p:spTree>
      <p:nvGrpSpPr>
        <p:cNvPr id="1" name=""/>
        <p:cNvGrpSpPr/>
        <p:nvPr/>
      </p:nvGrpSpPr>
      <p:grpSpPr>
        <a:xfrm>
          <a:off x="0" y="0"/>
          <a:ext cx="0" cy="0"/>
          <a:chOff x="0" y="0"/>
          <a:chExt cx="0" cy="0"/>
        </a:xfrm>
      </p:grpSpPr>
      <p:sp>
        <p:nvSpPr>
          <p:cNvPr id="2" name="Title 1"/>
          <p:cNvSpPr>
            <a:spLocks noGrp="1"/>
          </p:cNvSpPr>
          <p:nvPr>
            <p:ph type="title"/>
          </p:nvPr>
        </p:nvSpPr>
        <p:spPr>
          <a:xfrm>
            <a:off x="591258" y="63509"/>
            <a:ext cx="6102678" cy="1076408"/>
          </a:xfrm>
        </p:spPr>
        <p:txBody>
          <a:bodyPr>
            <a:normAutofit/>
          </a:bodyPr>
          <a:lstStyle>
            <a:lvl1pPr>
              <a:defRPr sz="1500"/>
            </a:lvl1pPr>
          </a:lstStyle>
          <a:p>
            <a:r>
              <a:rPr lang="en-US" dirty="0"/>
              <a:t>Click to edit Master title style</a:t>
            </a:r>
            <a:endParaRPr lang="en-AU" dirty="0"/>
          </a:p>
        </p:txBody>
      </p:sp>
      <p:sp>
        <p:nvSpPr>
          <p:cNvPr id="3" name="Slide Number Placeholder 2"/>
          <p:cNvSpPr>
            <a:spLocks noGrp="1"/>
          </p:cNvSpPr>
          <p:nvPr>
            <p:ph type="sldNum" sz="quarter" idx="10"/>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45222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dvisian title and tex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sz="1500" b="0">
                <a:solidFill>
                  <a:srgbClr val="162934"/>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313"/>
              </a:spcAft>
              <a:buNone/>
              <a:defRPr sz="1042">
                <a:latin typeface="Segoe UI" panose="020B0502040204020203" pitchFamily="34" charset="0"/>
                <a:ea typeface="Segoe UI" panose="020B0502040204020203" pitchFamily="34" charset="0"/>
                <a:cs typeface="Segoe UI" panose="020B0502040204020203" pitchFamily="34" charset="0"/>
              </a:defRPr>
            </a:lvl1pPr>
            <a:lvl2pPr marL="186838" indent="-186838" rtl="0">
              <a:spcAft>
                <a:spcPts val="313"/>
              </a:spcAft>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6012" rtl="0">
              <a:spcAft>
                <a:spcPts val="313"/>
              </a:spcAft>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51420" indent="-178571" rtl="0">
              <a:spcAft>
                <a:spcPts val="313"/>
              </a:spcAft>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5697" indent="-186012">
              <a:spcAft>
                <a:spcPts val="1250"/>
              </a:spcAft>
              <a:buFont typeface="Arial" panose="020B0604020202020204" pitchFamily="34" charset="0"/>
              <a:buChar char="•"/>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p:txBody>
          <a:bodyPr/>
          <a:lstStyle>
            <a:lvl1pPr rtl="0">
              <a:defRPr>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6" name="Freeform 5"/>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1897037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Advisian title and text">
    <p:bg>
      <p:bgPr>
        <a:solidFill>
          <a:schemeClr val="tx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313"/>
              </a:spcAft>
              <a:buNone/>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6838" indent="-186838" rtl="0">
              <a:spcAft>
                <a:spcPts val="313"/>
              </a:spcAft>
              <a:buClr>
                <a:schemeClr val="bg1"/>
              </a:buClr>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marL="372849" indent="-186012" rtl="0">
              <a:spcAft>
                <a:spcPts val="313"/>
              </a:spcAft>
              <a:buClr>
                <a:schemeClr val="bg1"/>
              </a:buClr>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marL="551420" indent="-178571" rtl="0">
              <a:spcAft>
                <a:spcPts val="313"/>
              </a:spcAft>
              <a:buClr>
                <a:schemeClr val="bg1"/>
              </a:buClr>
              <a:buSzPct val="90000"/>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marL="745697" indent="-186012">
              <a:spcAft>
                <a:spcPts val="1250"/>
              </a:spcAft>
              <a:buFont typeface="Arial" panose="020B0604020202020204" pitchFamily="34" charset="0"/>
              <a:buChar char="•"/>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solidFill>
              </a:rPr>
              <a:t> Offshore Mining and Civil  / </a:t>
            </a:r>
            <a:fld id="{CFD780AD-5876-4BCA-80DC-E96648A7269F}" type="slidenum">
              <a:rPr lang="en-AU" smtClean="0">
                <a:solidFill>
                  <a:srgbClr val="FFFFFF"/>
                </a:solidFill>
              </a:rPr>
              <a:pPr/>
              <a:t>‹#›</a:t>
            </a:fld>
            <a:endParaRPr lang="en-AU" dirty="0">
              <a:solidFill>
                <a:srgbClr val="FFFFFF"/>
              </a:solidFill>
            </a:endParaRPr>
          </a:p>
        </p:txBody>
      </p:sp>
      <p:sp>
        <p:nvSpPr>
          <p:cNvPr id="6" name="Freeform 5"/>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38510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Advisian title and text">
    <p:bg>
      <p:bgPr>
        <a:solidFill>
          <a:schemeClr val="tx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7" y="63500"/>
            <a:ext cx="6102678" cy="1076408"/>
          </a:xfrm>
          <a:prstGeom prst="rect">
            <a:avLst/>
          </a:prstGeom>
        </p:spPr>
        <p:txBody>
          <a:bodyPr vert="horz" lIns="0" tIns="0" rIns="0" bIns="0" rtlCol="0" anchor="b" anchorCtr="0">
            <a:normAutofit/>
          </a:bodyP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450"/>
              </a:spcAft>
              <a:buNone/>
              <a:defRPr sz="15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269068" indent="-269068" rtl="0">
              <a:spcAft>
                <a:spcPts val="450"/>
              </a:spcAft>
              <a:buClr>
                <a:schemeClr val="bg1"/>
              </a:buClr>
              <a:buFont typeface="Arial" panose="020B0604020202020204" pitchFamily="34" charset="0"/>
              <a:buChar char="•"/>
              <a:defRPr sz="15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marL="536945" indent="-267878" rtl="0">
              <a:spcAft>
                <a:spcPts val="450"/>
              </a:spcAft>
              <a:buClr>
                <a:schemeClr val="bg1"/>
              </a:buClr>
              <a:buFont typeface="Arial" panose="020B0604020202020204" pitchFamily="34" charset="0"/>
              <a:buChar char="-"/>
              <a:defRPr sz="15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marL="794108" indent="-257162" rtl="0">
              <a:spcAft>
                <a:spcPts val="450"/>
              </a:spcAft>
              <a:buClr>
                <a:schemeClr val="bg1"/>
              </a:buClr>
              <a:buSzPct val="90000"/>
              <a:buFont typeface="Arial" panose="020B0604020202020204" pitchFamily="34" charset="0"/>
              <a:buChar char="•"/>
              <a:defRPr sz="15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marL="1073891" indent="-267878">
              <a:spcAft>
                <a:spcPts val="1800"/>
              </a:spcAft>
              <a:buFont typeface="Arial" panose="020B0604020202020204" pitchFamily="34" charset="0"/>
              <a:buChar char="•"/>
              <a:defRPr sz="1500">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Offshore Mining and Civil  / </a:t>
            </a:r>
            <a:fld id="{CFD780AD-5876-4BCA-80DC-E96648A7269F}" type="slidenum">
              <a:rPr lang="en-AU" smtClean="0"/>
              <a:pPr/>
              <a:t>‹#›</a:t>
            </a:fld>
            <a:endParaRPr lang="en-AU" dirty="0"/>
          </a:p>
        </p:txBody>
      </p:sp>
      <p:sp>
        <p:nvSpPr>
          <p:cNvPr id="6" name="Freeform 5"/>
          <p:cNvSpPr/>
          <p:nvPr userDrawn="1"/>
        </p:nvSpPr>
        <p:spPr>
          <a:xfrm>
            <a:off x="-7063" y="119498"/>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350" dirty="0"/>
          </a:p>
        </p:txBody>
      </p:sp>
      <p:sp>
        <p:nvSpPr>
          <p:cNvPr id="8" name="Parallelogram 11"/>
          <p:cNvSpPr/>
          <p:nvPr userDrawn="1"/>
        </p:nvSpPr>
        <p:spPr>
          <a:xfrm>
            <a:off x="-7065" y="69129"/>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350" dirty="0"/>
          </a:p>
        </p:txBody>
      </p:sp>
    </p:spTree>
    <p:extLst>
      <p:ext uri="{BB962C8B-B14F-4D97-AF65-F5344CB8AC3E}">
        <p14:creationId xmlns:p14="http://schemas.microsoft.com/office/powerpoint/2010/main" val="2763669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sz="1500" b="0">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6" y="1787172"/>
            <a:ext cx="2883084" cy="6570927"/>
          </a:xfrm>
        </p:spPr>
        <p:txBody>
          <a:bodyPr>
            <a:normAutofit/>
          </a:bodyPr>
          <a:lstStyle>
            <a:lvl1pPr marL="0" indent="0" rtl="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rtl="0">
              <a:buClr>
                <a:schemeClr val="accent1"/>
              </a:buClr>
              <a:buSzPct val="90000"/>
              <a:buFont typeface="Arial" panose="020B0604020202020204" pitchFamily="34" charset="0"/>
              <a:buChar char="•"/>
              <a:tabLst/>
              <a:defRPr sz="1042">
                <a:latin typeface="Segoe UI" panose="020B0502040204020203" pitchFamily="34" charset="0"/>
                <a:ea typeface="Segoe UI" panose="020B0502040204020203" pitchFamily="34" charset="0"/>
                <a:cs typeface="Segoe UI" panose="020B0502040204020203" pitchFamily="34" charset="0"/>
              </a:defRPr>
            </a:lvl4pPr>
            <a:lvl5pPr marL="746524" indent="-185184">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quarter" idx="11"/>
          </p:nvPr>
        </p:nvSpPr>
        <p:spPr>
          <a:xfrm>
            <a:off x="3740364" y="1787172"/>
            <a:ext cx="2883084" cy="6570927"/>
          </a:xfrm>
        </p:spPr>
        <p:txBody>
          <a:bodyPr>
            <a:normAutofit/>
          </a:bodyPr>
          <a:lstStyle>
            <a:lvl1pPr marL="0" indent="0" rtl="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rtl="0">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9005" indent="-187665">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8" name="Freeform 7"/>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9"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1479154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dvisian 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1258" y="-1"/>
            <a:ext cx="6102678" cy="1139909"/>
          </a:xfrm>
        </p:spPr>
        <p:txBody>
          <a:bodyPr>
            <a:normAutofit/>
          </a:bodyPr>
          <a:lstStyle>
            <a:lvl1pPr>
              <a:defRPr sz="1500" b="0">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8" name="Picture Placeholder 5"/>
          <p:cNvSpPr>
            <a:spLocks noGrp="1"/>
          </p:cNvSpPr>
          <p:nvPr>
            <p:ph type="pic" sz="quarter" idx="14"/>
          </p:nvPr>
        </p:nvSpPr>
        <p:spPr>
          <a:xfrm>
            <a:off x="-7142" y="1788589"/>
            <a:ext cx="2477217" cy="3610187"/>
          </a:xfrm>
          <a:custGeom>
            <a:avLst/>
            <a:gdLst>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5010231 w 5560752"/>
              <a:gd name="connsiteY17" fmla="*/ 2899066 h 6868800"/>
              <a:gd name="connsiteX18" fmla="*/ 4091146 w 5560752"/>
              <a:gd name="connsiteY18" fmla="*/ 5064754 h 6868800"/>
              <a:gd name="connsiteX19" fmla="*/ 3981817 w 5560752"/>
              <a:gd name="connsiteY19" fmla="*/ 5064753 h 6868800"/>
              <a:gd name="connsiteX20" fmla="*/ 3313099 w 5560752"/>
              <a:gd name="connsiteY20" fmla="*/ 3306692 h 6868800"/>
              <a:gd name="connsiteX21" fmla="*/ 2652829 w 5560752"/>
              <a:gd name="connsiteY21" fmla="*/ 3306692 h 6868800"/>
              <a:gd name="connsiteX22" fmla="*/ 2828495 w 5560752"/>
              <a:gd name="connsiteY22" fmla="*/ 2897733 h 6868800"/>
              <a:gd name="connsiteX23" fmla="*/ 0 w 5560752"/>
              <a:gd name="connsiteY23" fmla="*/ 0 h 6868800"/>
              <a:gd name="connsiteX24" fmla="*/ 5560752 w 5560752"/>
              <a:gd name="connsiteY24" fmla="*/ 0 h 6868800"/>
              <a:gd name="connsiteX25" fmla="*/ 5560752 w 5560752"/>
              <a:gd name="connsiteY25" fmla="*/ 6868800 h 6868800"/>
              <a:gd name="connsiteX26" fmla="*/ 2621885 w 5560752"/>
              <a:gd name="connsiteY26" fmla="*/ 6868800 h 6868800"/>
              <a:gd name="connsiteX27" fmla="*/ 2418035 w 5560752"/>
              <a:gd name="connsiteY27" fmla="*/ 6334754 h 6868800"/>
              <a:gd name="connsiteX28" fmla="*/ 4464207 w 5560752"/>
              <a:gd name="connsiteY28" fmla="*/ 6332960 h 6868800"/>
              <a:gd name="connsiteX29" fmla="*/ 3996958 w 5560752"/>
              <a:gd name="connsiteY29" fmla="*/ 5104559 h 6868800"/>
              <a:gd name="connsiteX30" fmla="*/ 4119221 w 5560752"/>
              <a:gd name="connsiteY30" fmla="*/ 5104563 h 6868800"/>
              <a:gd name="connsiteX31" fmla="*/ 2794373 w 5560752"/>
              <a:gd name="connsiteY31" fmla="*/ 2860946 h 6868800"/>
              <a:gd name="connsiteX32" fmla="*/ 2604149 w 5560752"/>
              <a:gd name="connsiteY32" fmla="*/ 3306692 h 6868800"/>
              <a:gd name="connsiteX33" fmla="*/ 1262196 w 5560752"/>
              <a:gd name="connsiteY33" fmla="*/ 3306692 h 6868800"/>
              <a:gd name="connsiteX34" fmla="*/ 0 w 5560752"/>
              <a:gd name="connsiteY34"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4119221 w 5560752"/>
              <a:gd name="connsiteY29" fmla="*/ 5104563 h 6868800"/>
              <a:gd name="connsiteX30" fmla="*/ 2794373 w 5560752"/>
              <a:gd name="connsiteY30" fmla="*/ 2860946 h 6868800"/>
              <a:gd name="connsiteX31" fmla="*/ 2604149 w 5560752"/>
              <a:gd name="connsiteY31" fmla="*/ 3306692 h 6868800"/>
              <a:gd name="connsiteX32" fmla="*/ 1262196 w 5560752"/>
              <a:gd name="connsiteY32" fmla="*/ 3306692 h 6868800"/>
              <a:gd name="connsiteX33" fmla="*/ 0 w 5560752"/>
              <a:gd name="connsiteY33"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2794373 w 5560752"/>
              <a:gd name="connsiteY29" fmla="*/ 2860946 h 6868800"/>
              <a:gd name="connsiteX30" fmla="*/ 2604149 w 5560752"/>
              <a:gd name="connsiteY30" fmla="*/ 3306692 h 6868800"/>
              <a:gd name="connsiteX31" fmla="*/ 1262196 w 5560752"/>
              <a:gd name="connsiteY31" fmla="*/ 3306692 h 6868800"/>
              <a:gd name="connsiteX32" fmla="*/ 0 w 5560752"/>
              <a:gd name="connsiteY32"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2794373 w 5560752"/>
              <a:gd name="connsiteY28" fmla="*/ 2860946 h 6868800"/>
              <a:gd name="connsiteX29" fmla="*/ 2604149 w 5560752"/>
              <a:gd name="connsiteY29" fmla="*/ 3306692 h 6868800"/>
              <a:gd name="connsiteX30" fmla="*/ 1262196 w 5560752"/>
              <a:gd name="connsiteY30" fmla="*/ 3306692 h 6868800"/>
              <a:gd name="connsiteX31" fmla="*/ 0 w 5560752"/>
              <a:gd name="connsiteY31"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981817 w 5560752"/>
              <a:gd name="connsiteY17" fmla="*/ 5064753 h 6868800"/>
              <a:gd name="connsiteX18" fmla="*/ 3313099 w 5560752"/>
              <a:gd name="connsiteY18" fmla="*/ 3306692 h 6868800"/>
              <a:gd name="connsiteX19" fmla="*/ 2652829 w 5560752"/>
              <a:gd name="connsiteY19" fmla="*/ 3306692 h 6868800"/>
              <a:gd name="connsiteX20" fmla="*/ 2828495 w 5560752"/>
              <a:gd name="connsiteY20" fmla="*/ 2897733 h 6868800"/>
              <a:gd name="connsiteX21" fmla="*/ 0 w 5560752"/>
              <a:gd name="connsiteY21" fmla="*/ 0 h 6868800"/>
              <a:gd name="connsiteX22" fmla="*/ 5560752 w 5560752"/>
              <a:gd name="connsiteY22" fmla="*/ 0 h 6868800"/>
              <a:gd name="connsiteX23" fmla="*/ 5560752 w 5560752"/>
              <a:gd name="connsiteY23" fmla="*/ 6868800 h 6868800"/>
              <a:gd name="connsiteX24" fmla="*/ 2621885 w 5560752"/>
              <a:gd name="connsiteY24" fmla="*/ 6868800 h 6868800"/>
              <a:gd name="connsiteX25" fmla="*/ 2418035 w 5560752"/>
              <a:gd name="connsiteY25" fmla="*/ 6334754 h 6868800"/>
              <a:gd name="connsiteX26" fmla="*/ 4464207 w 5560752"/>
              <a:gd name="connsiteY26" fmla="*/ 6332960 h 6868800"/>
              <a:gd name="connsiteX27" fmla="*/ 2794373 w 5560752"/>
              <a:gd name="connsiteY27" fmla="*/ 2860946 h 6868800"/>
              <a:gd name="connsiteX28" fmla="*/ 2604149 w 5560752"/>
              <a:gd name="connsiteY28" fmla="*/ 3306692 h 6868800"/>
              <a:gd name="connsiteX29" fmla="*/ 1262196 w 5560752"/>
              <a:gd name="connsiteY29" fmla="*/ 3306692 h 6868800"/>
              <a:gd name="connsiteX30" fmla="*/ 0 w 5560752"/>
              <a:gd name="connsiteY30"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313099 w 5560752"/>
              <a:gd name="connsiteY17" fmla="*/ 3306692 h 6868800"/>
              <a:gd name="connsiteX18" fmla="*/ 2652829 w 5560752"/>
              <a:gd name="connsiteY18" fmla="*/ 3306692 h 6868800"/>
              <a:gd name="connsiteX19" fmla="*/ 2828495 w 5560752"/>
              <a:gd name="connsiteY19" fmla="*/ 2897733 h 6868800"/>
              <a:gd name="connsiteX20" fmla="*/ 0 w 5560752"/>
              <a:gd name="connsiteY20" fmla="*/ 0 h 6868800"/>
              <a:gd name="connsiteX21" fmla="*/ 5560752 w 5560752"/>
              <a:gd name="connsiteY21" fmla="*/ 0 h 6868800"/>
              <a:gd name="connsiteX22" fmla="*/ 5560752 w 5560752"/>
              <a:gd name="connsiteY22" fmla="*/ 6868800 h 6868800"/>
              <a:gd name="connsiteX23" fmla="*/ 2621885 w 5560752"/>
              <a:gd name="connsiteY23" fmla="*/ 6868800 h 6868800"/>
              <a:gd name="connsiteX24" fmla="*/ 2418035 w 5560752"/>
              <a:gd name="connsiteY24" fmla="*/ 6334754 h 6868800"/>
              <a:gd name="connsiteX25" fmla="*/ 4464207 w 5560752"/>
              <a:gd name="connsiteY25" fmla="*/ 6332960 h 6868800"/>
              <a:gd name="connsiteX26" fmla="*/ 2794373 w 5560752"/>
              <a:gd name="connsiteY26" fmla="*/ 2860946 h 6868800"/>
              <a:gd name="connsiteX27" fmla="*/ 2604149 w 5560752"/>
              <a:gd name="connsiteY27" fmla="*/ 3306692 h 6868800"/>
              <a:gd name="connsiteX28" fmla="*/ 1262196 w 5560752"/>
              <a:gd name="connsiteY28" fmla="*/ 3306692 h 6868800"/>
              <a:gd name="connsiteX29" fmla="*/ 0 w 5560752"/>
              <a:gd name="connsiteY29"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4464207 w 5560752"/>
              <a:gd name="connsiteY24" fmla="*/ 6332960 h 6868800"/>
              <a:gd name="connsiteX25" fmla="*/ 2794373 w 5560752"/>
              <a:gd name="connsiteY25" fmla="*/ 2860946 h 6868800"/>
              <a:gd name="connsiteX26" fmla="*/ 2604149 w 5560752"/>
              <a:gd name="connsiteY26" fmla="*/ 3306692 h 6868800"/>
              <a:gd name="connsiteX27" fmla="*/ 1262196 w 5560752"/>
              <a:gd name="connsiteY27" fmla="*/ 3306692 h 6868800"/>
              <a:gd name="connsiteX28" fmla="*/ 0 w 5560752"/>
              <a:gd name="connsiteY28"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2794373 w 5560752"/>
              <a:gd name="connsiteY24" fmla="*/ 2860946 h 6868800"/>
              <a:gd name="connsiteX25" fmla="*/ 2604149 w 5560752"/>
              <a:gd name="connsiteY25" fmla="*/ 3306692 h 6868800"/>
              <a:gd name="connsiteX26" fmla="*/ 1262196 w 5560752"/>
              <a:gd name="connsiteY26" fmla="*/ 3306692 h 6868800"/>
              <a:gd name="connsiteX27" fmla="*/ 0 w 5560752"/>
              <a:gd name="connsiteY27"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3653877 w 5560752"/>
              <a:gd name="connsiteY7" fmla="*/ 5064749 h 6868800"/>
              <a:gd name="connsiteX8" fmla="*/ 1934805 w 5560752"/>
              <a:gd name="connsiteY8" fmla="*/ 5064727 h 6868800"/>
              <a:gd name="connsiteX9" fmla="*/ 1917376 w 5560752"/>
              <a:gd name="connsiteY9" fmla="*/ 5018866 h 6868800"/>
              <a:gd name="connsiteX10" fmla="*/ 2523173 w 5560752"/>
              <a:gd name="connsiteY10" fmla="*/ 3608540 h 6868800"/>
              <a:gd name="connsiteX11" fmla="*/ 1381398 w 5560752"/>
              <a:gd name="connsiteY11" fmla="*/ 3608540 h 6868800"/>
              <a:gd name="connsiteX12" fmla="*/ 2475335 w 5560752"/>
              <a:gd name="connsiteY12" fmla="*/ 3608540 h 6868800"/>
              <a:gd name="connsiteX13" fmla="*/ 1896695 w 5560752"/>
              <a:gd name="connsiteY13" fmla="*/ 4964449 h 6868800"/>
              <a:gd name="connsiteX14" fmla="*/ 1381398 w 5560752"/>
              <a:gd name="connsiteY14" fmla="*/ 3608540 h 6868800"/>
              <a:gd name="connsiteX15" fmla="*/ 2828495 w 5560752"/>
              <a:gd name="connsiteY15" fmla="*/ 2897733 h 6868800"/>
              <a:gd name="connsiteX16" fmla="*/ 2652829 w 5560752"/>
              <a:gd name="connsiteY16" fmla="*/ 3306692 h 6868800"/>
              <a:gd name="connsiteX17" fmla="*/ 2828495 w 5560752"/>
              <a:gd name="connsiteY17" fmla="*/ 2897733 h 6868800"/>
              <a:gd name="connsiteX18" fmla="*/ 0 w 5560752"/>
              <a:gd name="connsiteY18" fmla="*/ 0 h 6868800"/>
              <a:gd name="connsiteX19" fmla="*/ 5560752 w 5560752"/>
              <a:gd name="connsiteY19" fmla="*/ 0 h 6868800"/>
              <a:gd name="connsiteX20" fmla="*/ 5560752 w 5560752"/>
              <a:gd name="connsiteY20" fmla="*/ 6868800 h 6868800"/>
              <a:gd name="connsiteX21" fmla="*/ 2621885 w 5560752"/>
              <a:gd name="connsiteY21" fmla="*/ 6868800 h 6868800"/>
              <a:gd name="connsiteX22" fmla="*/ 2418035 w 5560752"/>
              <a:gd name="connsiteY22" fmla="*/ 6334754 h 6868800"/>
              <a:gd name="connsiteX23" fmla="*/ 2794373 w 5560752"/>
              <a:gd name="connsiteY23" fmla="*/ 2860946 h 6868800"/>
              <a:gd name="connsiteX24" fmla="*/ 2604149 w 5560752"/>
              <a:gd name="connsiteY24" fmla="*/ 3306692 h 6868800"/>
              <a:gd name="connsiteX25" fmla="*/ 1262196 w 5560752"/>
              <a:gd name="connsiteY25" fmla="*/ 3306692 h 6868800"/>
              <a:gd name="connsiteX26" fmla="*/ 0 w 5560752"/>
              <a:gd name="connsiteY26"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1934805 w 5560752"/>
              <a:gd name="connsiteY7" fmla="*/ 5064727 h 6868800"/>
              <a:gd name="connsiteX8" fmla="*/ 1917376 w 5560752"/>
              <a:gd name="connsiteY8" fmla="*/ 5018866 h 6868800"/>
              <a:gd name="connsiteX9" fmla="*/ 2523173 w 5560752"/>
              <a:gd name="connsiteY9" fmla="*/ 3608540 h 6868800"/>
              <a:gd name="connsiteX10" fmla="*/ 1381398 w 5560752"/>
              <a:gd name="connsiteY10" fmla="*/ 3608540 h 6868800"/>
              <a:gd name="connsiteX11" fmla="*/ 2475335 w 5560752"/>
              <a:gd name="connsiteY11" fmla="*/ 3608540 h 6868800"/>
              <a:gd name="connsiteX12" fmla="*/ 1896695 w 5560752"/>
              <a:gd name="connsiteY12" fmla="*/ 4964449 h 6868800"/>
              <a:gd name="connsiteX13" fmla="*/ 1381398 w 5560752"/>
              <a:gd name="connsiteY13" fmla="*/ 3608540 h 6868800"/>
              <a:gd name="connsiteX14" fmla="*/ 2828495 w 5560752"/>
              <a:gd name="connsiteY14" fmla="*/ 2897733 h 6868800"/>
              <a:gd name="connsiteX15" fmla="*/ 2652829 w 5560752"/>
              <a:gd name="connsiteY15" fmla="*/ 3306692 h 6868800"/>
              <a:gd name="connsiteX16" fmla="*/ 2828495 w 5560752"/>
              <a:gd name="connsiteY16" fmla="*/ 2897733 h 6868800"/>
              <a:gd name="connsiteX17" fmla="*/ 0 w 5560752"/>
              <a:gd name="connsiteY17" fmla="*/ 0 h 6868800"/>
              <a:gd name="connsiteX18" fmla="*/ 5560752 w 5560752"/>
              <a:gd name="connsiteY18" fmla="*/ 0 h 6868800"/>
              <a:gd name="connsiteX19" fmla="*/ 5560752 w 5560752"/>
              <a:gd name="connsiteY19" fmla="*/ 6868800 h 6868800"/>
              <a:gd name="connsiteX20" fmla="*/ 2621885 w 5560752"/>
              <a:gd name="connsiteY20" fmla="*/ 6868800 h 6868800"/>
              <a:gd name="connsiteX21" fmla="*/ 2418035 w 5560752"/>
              <a:gd name="connsiteY21" fmla="*/ 6334754 h 6868800"/>
              <a:gd name="connsiteX22" fmla="*/ 2794373 w 5560752"/>
              <a:gd name="connsiteY22" fmla="*/ 2860946 h 6868800"/>
              <a:gd name="connsiteX23" fmla="*/ 2604149 w 5560752"/>
              <a:gd name="connsiteY23" fmla="*/ 3306692 h 6868800"/>
              <a:gd name="connsiteX24" fmla="*/ 1262196 w 5560752"/>
              <a:gd name="connsiteY24" fmla="*/ 3306692 h 6868800"/>
              <a:gd name="connsiteX25" fmla="*/ 0 w 5560752"/>
              <a:gd name="connsiteY25"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3100461 w 5560752"/>
              <a:gd name="connsiteY5" fmla="*/ 3608540 h 6868800"/>
              <a:gd name="connsiteX6" fmla="*/ 1934805 w 5560752"/>
              <a:gd name="connsiteY6" fmla="*/ 5064727 h 6868800"/>
              <a:gd name="connsiteX7" fmla="*/ 1917376 w 5560752"/>
              <a:gd name="connsiteY7" fmla="*/ 5018866 h 6868800"/>
              <a:gd name="connsiteX8" fmla="*/ 2523173 w 5560752"/>
              <a:gd name="connsiteY8" fmla="*/ 3608540 h 6868800"/>
              <a:gd name="connsiteX9" fmla="*/ 1381398 w 5560752"/>
              <a:gd name="connsiteY9" fmla="*/ 3608540 h 6868800"/>
              <a:gd name="connsiteX10" fmla="*/ 2475335 w 5560752"/>
              <a:gd name="connsiteY10" fmla="*/ 3608540 h 6868800"/>
              <a:gd name="connsiteX11" fmla="*/ 1896695 w 5560752"/>
              <a:gd name="connsiteY11" fmla="*/ 4964449 h 6868800"/>
              <a:gd name="connsiteX12" fmla="*/ 1381398 w 5560752"/>
              <a:gd name="connsiteY12" fmla="*/ 3608540 h 6868800"/>
              <a:gd name="connsiteX13" fmla="*/ 2828495 w 5560752"/>
              <a:gd name="connsiteY13" fmla="*/ 2897733 h 6868800"/>
              <a:gd name="connsiteX14" fmla="*/ 2652829 w 5560752"/>
              <a:gd name="connsiteY14" fmla="*/ 3306692 h 6868800"/>
              <a:gd name="connsiteX15" fmla="*/ 2828495 w 5560752"/>
              <a:gd name="connsiteY15" fmla="*/ 2897733 h 6868800"/>
              <a:gd name="connsiteX16" fmla="*/ 0 w 5560752"/>
              <a:gd name="connsiteY16" fmla="*/ 0 h 6868800"/>
              <a:gd name="connsiteX17" fmla="*/ 5560752 w 5560752"/>
              <a:gd name="connsiteY17" fmla="*/ 0 h 6868800"/>
              <a:gd name="connsiteX18" fmla="*/ 5560752 w 5560752"/>
              <a:gd name="connsiteY18" fmla="*/ 6868800 h 6868800"/>
              <a:gd name="connsiteX19" fmla="*/ 2621885 w 5560752"/>
              <a:gd name="connsiteY19" fmla="*/ 6868800 h 6868800"/>
              <a:gd name="connsiteX20" fmla="*/ 2418035 w 5560752"/>
              <a:gd name="connsiteY20" fmla="*/ 6334754 h 6868800"/>
              <a:gd name="connsiteX21" fmla="*/ 2794373 w 5560752"/>
              <a:gd name="connsiteY21" fmla="*/ 2860946 h 6868800"/>
              <a:gd name="connsiteX22" fmla="*/ 2604149 w 5560752"/>
              <a:gd name="connsiteY22" fmla="*/ 3306692 h 6868800"/>
              <a:gd name="connsiteX23" fmla="*/ 1262196 w 5560752"/>
              <a:gd name="connsiteY23" fmla="*/ 3306692 h 6868800"/>
              <a:gd name="connsiteX24" fmla="*/ 0 w 5560752"/>
              <a:gd name="connsiteY24"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1934805 w 5560752"/>
              <a:gd name="connsiteY5" fmla="*/ 5064727 h 6868800"/>
              <a:gd name="connsiteX6" fmla="*/ 1917376 w 5560752"/>
              <a:gd name="connsiteY6" fmla="*/ 5018866 h 6868800"/>
              <a:gd name="connsiteX7" fmla="*/ 2523173 w 5560752"/>
              <a:gd name="connsiteY7" fmla="*/ 3608540 h 6868800"/>
              <a:gd name="connsiteX8" fmla="*/ 1381398 w 5560752"/>
              <a:gd name="connsiteY8" fmla="*/ 3608540 h 6868800"/>
              <a:gd name="connsiteX9" fmla="*/ 2475335 w 5560752"/>
              <a:gd name="connsiteY9" fmla="*/ 3608540 h 6868800"/>
              <a:gd name="connsiteX10" fmla="*/ 1896695 w 5560752"/>
              <a:gd name="connsiteY10" fmla="*/ 4964449 h 6868800"/>
              <a:gd name="connsiteX11" fmla="*/ 1381398 w 5560752"/>
              <a:gd name="connsiteY11" fmla="*/ 3608540 h 6868800"/>
              <a:gd name="connsiteX12" fmla="*/ 2828495 w 5560752"/>
              <a:gd name="connsiteY12" fmla="*/ 2897733 h 6868800"/>
              <a:gd name="connsiteX13" fmla="*/ 2652829 w 5560752"/>
              <a:gd name="connsiteY13" fmla="*/ 3306692 h 6868800"/>
              <a:gd name="connsiteX14" fmla="*/ 2828495 w 5560752"/>
              <a:gd name="connsiteY14" fmla="*/ 2897733 h 6868800"/>
              <a:gd name="connsiteX15" fmla="*/ 0 w 5560752"/>
              <a:gd name="connsiteY15" fmla="*/ 0 h 6868800"/>
              <a:gd name="connsiteX16" fmla="*/ 5560752 w 5560752"/>
              <a:gd name="connsiteY16" fmla="*/ 0 h 6868800"/>
              <a:gd name="connsiteX17" fmla="*/ 5560752 w 5560752"/>
              <a:gd name="connsiteY17" fmla="*/ 6868800 h 6868800"/>
              <a:gd name="connsiteX18" fmla="*/ 2621885 w 5560752"/>
              <a:gd name="connsiteY18" fmla="*/ 6868800 h 6868800"/>
              <a:gd name="connsiteX19" fmla="*/ 2418035 w 5560752"/>
              <a:gd name="connsiteY19" fmla="*/ 6334754 h 6868800"/>
              <a:gd name="connsiteX20" fmla="*/ 2794373 w 5560752"/>
              <a:gd name="connsiteY20" fmla="*/ 2860946 h 6868800"/>
              <a:gd name="connsiteX21" fmla="*/ 2604149 w 5560752"/>
              <a:gd name="connsiteY21" fmla="*/ 3306692 h 6868800"/>
              <a:gd name="connsiteX22" fmla="*/ 1262196 w 5560752"/>
              <a:gd name="connsiteY22" fmla="*/ 3306692 h 6868800"/>
              <a:gd name="connsiteX23" fmla="*/ 0 w 5560752"/>
              <a:gd name="connsiteY23"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2828495 w 5560752"/>
              <a:gd name="connsiteY11" fmla="*/ 2897733 h 6868800"/>
              <a:gd name="connsiteX12" fmla="*/ 2652829 w 5560752"/>
              <a:gd name="connsiteY12" fmla="*/ 3306692 h 6868800"/>
              <a:gd name="connsiteX13" fmla="*/ 2828495 w 5560752"/>
              <a:gd name="connsiteY13" fmla="*/ 2897733 h 6868800"/>
              <a:gd name="connsiteX14" fmla="*/ 0 w 5560752"/>
              <a:gd name="connsiteY14" fmla="*/ 0 h 6868800"/>
              <a:gd name="connsiteX15" fmla="*/ 5560752 w 5560752"/>
              <a:gd name="connsiteY15" fmla="*/ 0 h 6868800"/>
              <a:gd name="connsiteX16" fmla="*/ 5560752 w 5560752"/>
              <a:gd name="connsiteY16" fmla="*/ 6868800 h 6868800"/>
              <a:gd name="connsiteX17" fmla="*/ 2621885 w 5560752"/>
              <a:gd name="connsiteY17" fmla="*/ 6868800 h 6868800"/>
              <a:gd name="connsiteX18" fmla="*/ 2418035 w 5560752"/>
              <a:gd name="connsiteY18" fmla="*/ 6334754 h 6868800"/>
              <a:gd name="connsiteX19" fmla="*/ 2794373 w 5560752"/>
              <a:gd name="connsiteY19" fmla="*/ 2860946 h 6868800"/>
              <a:gd name="connsiteX20" fmla="*/ 2604149 w 5560752"/>
              <a:gd name="connsiteY20" fmla="*/ 3306692 h 6868800"/>
              <a:gd name="connsiteX21" fmla="*/ 1262196 w 5560752"/>
              <a:gd name="connsiteY21" fmla="*/ 3306692 h 6868800"/>
              <a:gd name="connsiteX22" fmla="*/ 0 w 5560752"/>
              <a:gd name="connsiteY22"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2461592 w 5560752"/>
              <a:gd name="connsiteY2" fmla="*/ 5073845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1949917 w 5560752"/>
              <a:gd name="connsiteY2" fmla="*/ 5104493 h 6868800"/>
              <a:gd name="connsiteX3" fmla="*/ 1917376 w 5560752"/>
              <a:gd name="connsiteY3" fmla="*/ 5018866 h 6868800"/>
              <a:gd name="connsiteX4" fmla="*/ 1934805 w 5560752"/>
              <a:gd name="connsiteY4" fmla="*/ 5064727 h 6868800"/>
              <a:gd name="connsiteX5" fmla="*/ 1917376 w 5560752"/>
              <a:gd name="connsiteY5" fmla="*/ 5018866 h 6868800"/>
              <a:gd name="connsiteX6" fmla="*/ 1381398 w 5560752"/>
              <a:gd name="connsiteY6" fmla="*/ 3608540 h 6868800"/>
              <a:gd name="connsiteX7" fmla="*/ 2475335 w 5560752"/>
              <a:gd name="connsiteY7" fmla="*/ 3608540 h 6868800"/>
              <a:gd name="connsiteX8" fmla="*/ 1896695 w 5560752"/>
              <a:gd name="connsiteY8" fmla="*/ 4964449 h 6868800"/>
              <a:gd name="connsiteX9" fmla="*/ 1381398 w 5560752"/>
              <a:gd name="connsiteY9" fmla="*/ 3608540 h 6868800"/>
              <a:gd name="connsiteX10" fmla="*/ 0 w 5560752"/>
              <a:gd name="connsiteY10" fmla="*/ 0 h 6868800"/>
              <a:gd name="connsiteX11" fmla="*/ 5560752 w 5560752"/>
              <a:gd name="connsiteY11" fmla="*/ 0 h 6868800"/>
              <a:gd name="connsiteX12" fmla="*/ 5560752 w 5560752"/>
              <a:gd name="connsiteY12" fmla="*/ 6868800 h 6868800"/>
              <a:gd name="connsiteX13" fmla="*/ 2621885 w 5560752"/>
              <a:gd name="connsiteY13" fmla="*/ 6868800 h 6868800"/>
              <a:gd name="connsiteX14" fmla="*/ 2418035 w 5560752"/>
              <a:gd name="connsiteY14" fmla="*/ 6334754 h 6868800"/>
              <a:gd name="connsiteX15" fmla="*/ 2794373 w 5560752"/>
              <a:gd name="connsiteY15" fmla="*/ 2860946 h 6868800"/>
              <a:gd name="connsiteX16" fmla="*/ 2604149 w 5560752"/>
              <a:gd name="connsiteY16" fmla="*/ 3306692 h 6868800"/>
              <a:gd name="connsiteX17" fmla="*/ 1262196 w 5560752"/>
              <a:gd name="connsiteY17" fmla="*/ 3306692 h 6868800"/>
              <a:gd name="connsiteX18" fmla="*/ 0 w 5560752"/>
              <a:gd name="connsiteY18"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896695 w 5560752"/>
              <a:gd name="connsiteY5" fmla="*/ 4964449 h 6868800"/>
              <a:gd name="connsiteX6" fmla="*/ 1381398 w 5560752"/>
              <a:gd name="connsiteY6" fmla="*/ 3608540 h 6868800"/>
              <a:gd name="connsiteX7" fmla="*/ 0 w 5560752"/>
              <a:gd name="connsiteY7" fmla="*/ 0 h 6868800"/>
              <a:gd name="connsiteX8" fmla="*/ 5560752 w 5560752"/>
              <a:gd name="connsiteY8" fmla="*/ 0 h 6868800"/>
              <a:gd name="connsiteX9" fmla="*/ 5560752 w 5560752"/>
              <a:gd name="connsiteY9" fmla="*/ 6868800 h 6868800"/>
              <a:gd name="connsiteX10" fmla="*/ 2621885 w 5560752"/>
              <a:gd name="connsiteY10" fmla="*/ 6868800 h 6868800"/>
              <a:gd name="connsiteX11" fmla="*/ 2418035 w 5560752"/>
              <a:gd name="connsiteY11" fmla="*/ 6334754 h 6868800"/>
              <a:gd name="connsiteX12" fmla="*/ 2794373 w 5560752"/>
              <a:gd name="connsiteY12" fmla="*/ 2860946 h 6868800"/>
              <a:gd name="connsiteX13" fmla="*/ 2604149 w 5560752"/>
              <a:gd name="connsiteY13" fmla="*/ 3306692 h 6868800"/>
              <a:gd name="connsiteX14" fmla="*/ 1262196 w 5560752"/>
              <a:gd name="connsiteY14" fmla="*/ 3306692 h 6868800"/>
              <a:gd name="connsiteX15" fmla="*/ 0 w 5560752"/>
              <a:gd name="connsiteY15"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381398 w 5560752"/>
              <a:gd name="connsiteY5" fmla="*/ 3608540 h 6868800"/>
              <a:gd name="connsiteX6" fmla="*/ 0 w 5560752"/>
              <a:gd name="connsiteY6" fmla="*/ 0 h 6868800"/>
              <a:gd name="connsiteX7" fmla="*/ 5560752 w 5560752"/>
              <a:gd name="connsiteY7" fmla="*/ 0 h 6868800"/>
              <a:gd name="connsiteX8" fmla="*/ 5560752 w 5560752"/>
              <a:gd name="connsiteY8" fmla="*/ 6868800 h 6868800"/>
              <a:gd name="connsiteX9" fmla="*/ 2621885 w 5560752"/>
              <a:gd name="connsiteY9" fmla="*/ 6868800 h 6868800"/>
              <a:gd name="connsiteX10" fmla="*/ 2418035 w 5560752"/>
              <a:gd name="connsiteY10" fmla="*/ 6334754 h 6868800"/>
              <a:gd name="connsiteX11" fmla="*/ 2794373 w 5560752"/>
              <a:gd name="connsiteY11" fmla="*/ 2860946 h 6868800"/>
              <a:gd name="connsiteX12" fmla="*/ 2604149 w 5560752"/>
              <a:gd name="connsiteY12" fmla="*/ 3306692 h 6868800"/>
              <a:gd name="connsiteX13" fmla="*/ 1262196 w 5560752"/>
              <a:gd name="connsiteY13" fmla="*/ 3306692 h 6868800"/>
              <a:gd name="connsiteX14" fmla="*/ 0 w 5560752"/>
              <a:gd name="connsiteY14" fmla="*/ 0 h 6868800"/>
              <a:gd name="connsiteX0" fmla="*/ 1381398 w 5560752"/>
              <a:gd name="connsiteY0" fmla="*/ 3608540 h 6868800"/>
              <a:gd name="connsiteX1" fmla="*/ 2475335 w 5560752"/>
              <a:gd name="connsiteY1" fmla="*/ 3608540 h 6868800"/>
              <a:gd name="connsiteX2" fmla="*/ 1381398 w 5560752"/>
              <a:gd name="connsiteY2" fmla="*/ 3608540 h 6868800"/>
              <a:gd name="connsiteX3" fmla="*/ 0 w 5560752"/>
              <a:gd name="connsiteY3" fmla="*/ 0 h 6868800"/>
              <a:gd name="connsiteX4" fmla="*/ 5560752 w 5560752"/>
              <a:gd name="connsiteY4" fmla="*/ 0 h 6868800"/>
              <a:gd name="connsiteX5" fmla="*/ 5560752 w 5560752"/>
              <a:gd name="connsiteY5" fmla="*/ 6868800 h 6868800"/>
              <a:gd name="connsiteX6" fmla="*/ 2621885 w 5560752"/>
              <a:gd name="connsiteY6" fmla="*/ 6868800 h 6868800"/>
              <a:gd name="connsiteX7" fmla="*/ 2418035 w 5560752"/>
              <a:gd name="connsiteY7" fmla="*/ 6334754 h 6868800"/>
              <a:gd name="connsiteX8" fmla="*/ 2794373 w 5560752"/>
              <a:gd name="connsiteY8" fmla="*/ 2860946 h 6868800"/>
              <a:gd name="connsiteX9" fmla="*/ 2604149 w 5560752"/>
              <a:gd name="connsiteY9" fmla="*/ 3306692 h 6868800"/>
              <a:gd name="connsiteX10" fmla="*/ 1262196 w 5560752"/>
              <a:gd name="connsiteY10" fmla="*/ 3306692 h 6868800"/>
              <a:gd name="connsiteX11" fmla="*/ 0 w 5560752"/>
              <a:gd name="connsiteY11"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794373 w 5560752"/>
              <a:gd name="connsiteY5" fmla="*/ 2860946 h 6868800"/>
              <a:gd name="connsiteX6" fmla="*/ 2604149 w 5560752"/>
              <a:gd name="connsiteY6" fmla="*/ 3306692 h 6868800"/>
              <a:gd name="connsiteX7" fmla="*/ 1262196 w 5560752"/>
              <a:gd name="connsiteY7" fmla="*/ 3306692 h 6868800"/>
              <a:gd name="connsiteX8" fmla="*/ 0 w 5560752"/>
              <a:gd name="connsiteY8"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604149 w 5560752"/>
              <a:gd name="connsiteY5" fmla="*/ 3306692 h 6868800"/>
              <a:gd name="connsiteX6" fmla="*/ 1262196 w 5560752"/>
              <a:gd name="connsiteY6" fmla="*/ 3306692 h 6868800"/>
              <a:gd name="connsiteX7" fmla="*/ 0 w 5560752"/>
              <a:gd name="connsiteY7"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604149 w 5560752"/>
              <a:gd name="connsiteY4" fmla="*/ 3306692 h 6868800"/>
              <a:gd name="connsiteX5" fmla="*/ 1262196 w 5560752"/>
              <a:gd name="connsiteY5" fmla="*/ 3306692 h 6868800"/>
              <a:gd name="connsiteX6" fmla="*/ 0 w 5560752"/>
              <a:gd name="connsiteY6"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1262196 w 5560752"/>
              <a:gd name="connsiteY4" fmla="*/ 3306692 h 6868800"/>
              <a:gd name="connsiteX5" fmla="*/ 0 w 5560752"/>
              <a:gd name="connsiteY5"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0 w 5560752"/>
              <a:gd name="connsiteY4" fmla="*/ 0 h 6868800"/>
              <a:gd name="connsiteX0" fmla="*/ 1254105 w 6814857"/>
              <a:gd name="connsiteY0" fmla="*/ 0 h 6909943"/>
              <a:gd name="connsiteX1" fmla="*/ 6814857 w 6814857"/>
              <a:gd name="connsiteY1" fmla="*/ 0 h 6909943"/>
              <a:gd name="connsiteX2" fmla="*/ 6814857 w 6814857"/>
              <a:gd name="connsiteY2" fmla="*/ 6868800 h 6909943"/>
              <a:gd name="connsiteX3" fmla="*/ 0 w 6814857"/>
              <a:gd name="connsiteY3" fmla="*/ 6909943 h 6909943"/>
              <a:gd name="connsiteX4" fmla="*/ 1254105 w 6814857"/>
              <a:gd name="connsiteY4" fmla="*/ 0 h 6909943"/>
              <a:gd name="connsiteX0" fmla="*/ 1246535 w 6807287"/>
              <a:gd name="connsiteY0" fmla="*/ 0 h 6868800"/>
              <a:gd name="connsiteX1" fmla="*/ 6807287 w 6807287"/>
              <a:gd name="connsiteY1" fmla="*/ 0 h 6868800"/>
              <a:gd name="connsiteX2" fmla="*/ 6807287 w 6807287"/>
              <a:gd name="connsiteY2" fmla="*/ 6868800 h 6868800"/>
              <a:gd name="connsiteX3" fmla="*/ 0 w 6807287"/>
              <a:gd name="connsiteY3" fmla="*/ 6841371 h 6868800"/>
              <a:gd name="connsiteX4" fmla="*/ 1246535 w 6807287"/>
              <a:gd name="connsiteY4" fmla="*/ 0 h 6868800"/>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105735 w 6807287"/>
              <a:gd name="connsiteY0" fmla="*/ 0 h 6851748"/>
              <a:gd name="connsiteX1" fmla="*/ 6807287 w 6807287"/>
              <a:gd name="connsiteY1" fmla="*/ 10377 h 6851748"/>
              <a:gd name="connsiteX2" fmla="*/ 6792146 w 6807287"/>
              <a:gd name="connsiteY2" fmla="*/ 6824319 h 6851748"/>
              <a:gd name="connsiteX3" fmla="*/ 0 w 6807287"/>
              <a:gd name="connsiteY3" fmla="*/ 6851748 h 6851748"/>
              <a:gd name="connsiteX4" fmla="*/ 1105735 w 6807287"/>
              <a:gd name="connsiteY4" fmla="*/ 0 h 6851748"/>
              <a:gd name="connsiteX0" fmla="*/ 1697095 w 7398647"/>
              <a:gd name="connsiteY0" fmla="*/ 0 h 6841372"/>
              <a:gd name="connsiteX1" fmla="*/ 7398647 w 7398647"/>
              <a:gd name="connsiteY1" fmla="*/ 10377 h 6841372"/>
              <a:gd name="connsiteX2" fmla="*/ 7383506 w 7398647"/>
              <a:gd name="connsiteY2" fmla="*/ 6824319 h 6841372"/>
              <a:gd name="connsiteX3" fmla="*/ 0 w 7398647"/>
              <a:gd name="connsiteY3" fmla="*/ 6841372 h 6841372"/>
              <a:gd name="connsiteX4" fmla="*/ 1697095 w 7398647"/>
              <a:gd name="connsiteY4" fmla="*/ 0 h 6841372"/>
              <a:gd name="connsiteX0" fmla="*/ 1676371 w 7377923"/>
              <a:gd name="connsiteY0" fmla="*/ 0 h 6824319"/>
              <a:gd name="connsiteX1" fmla="*/ 7377923 w 7377923"/>
              <a:gd name="connsiteY1" fmla="*/ 10377 h 6824319"/>
              <a:gd name="connsiteX2" fmla="*/ 7362782 w 7377923"/>
              <a:gd name="connsiteY2" fmla="*/ 6824319 h 6824319"/>
              <a:gd name="connsiteX3" fmla="*/ 0 w 7377923"/>
              <a:gd name="connsiteY3" fmla="*/ 6820161 h 6824319"/>
              <a:gd name="connsiteX4" fmla="*/ 1676371 w 7377923"/>
              <a:gd name="connsiteY4" fmla="*/ 0 h 6824319"/>
              <a:gd name="connsiteX0" fmla="*/ 1674069 w 7377923"/>
              <a:gd name="connsiteY0" fmla="*/ 0 h 6828561"/>
              <a:gd name="connsiteX1" fmla="*/ 7377923 w 7377923"/>
              <a:gd name="connsiteY1" fmla="*/ 14619 h 6828561"/>
              <a:gd name="connsiteX2" fmla="*/ 7362782 w 7377923"/>
              <a:gd name="connsiteY2" fmla="*/ 6828561 h 6828561"/>
              <a:gd name="connsiteX3" fmla="*/ 0 w 7377923"/>
              <a:gd name="connsiteY3" fmla="*/ 6824403 h 6828561"/>
              <a:gd name="connsiteX4" fmla="*/ 1674069 w 7377923"/>
              <a:gd name="connsiteY4" fmla="*/ 0 h 6828561"/>
              <a:gd name="connsiteX0" fmla="*/ 1803605 w 7377923"/>
              <a:gd name="connsiteY0" fmla="*/ 265534 h 6813942"/>
              <a:gd name="connsiteX1" fmla="*/ 7377923 w 7377923"/>
              <a:gd name="connsiteY1" fmla="*/ 0 h 6813942"/>
              <a:gd name="connsiteX2" fmla="*/ 7362782 w 7377923"/>
              <a:gd name="connsiteY2" fmla="*/ 6813942 h 6813942"/>
              <a:gd name="connsiteX3" fmla="*/ 0 w 7377923"/>
              <a:gd name="connsiteY3" fmla="*/ 6809784 h 6813942"/>
              <a:gd name="connsiteX4" fmla="*/ 1803605 w 7377923"/>
              <a:gd name="connsiteY4" fmla="*/ 265534 h 6813942"/>
              <a:gd name="connsiteX0" fmla="*/ 1803605 w 7377923"/>
              <a:gd name="connsiteY0" fmla="*/ 0 h 6548408"/>
              <a:gd name="connsiteX1" fmla="*/ 7377923 w 7377923"/>
              <a:gd name="connsiteY1" fmla="*/ 45746 h 6548408"/>
              <a:gd name="connsiteX2" fmla="*/ 7362782 w 7377923"/>
              <a:gd name="connsiteY2" fmla="*/ 6548408 h 6548408"/>
              <a:gd name="connsiteX3" fmla="*/ 0 w 7377923"/>
              <a:gd name="connsiteY3" fmla="*/ 6544250 h 6548408"/>
              <a:gd name="connsiteX4" fmla="*/ 1803605 w 7377923"/>
              <a:gd name="connsiteY4" fmla="*/ 0 h 6548408"/>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58959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89590 w 7163908"/>
              <a:gd name="connsiteY4" fmla="*/ 37263 h 6623017"/>
              <a:gd name="connsiteX0" fmla="*/ 153327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33270 w 7163908"/>
              <a:gd name="connsiteY4" fmla="*/ 37263 h 6623017"/>
              <a:gd name="connsiteX0" fmla="*/ 1555798 w 7186436"/>
              <a:gd name="connsiteY0" fmla="*/ 37263 h 6623017"/>
              <a:gd name="connsiteX1" fmla="*/ 7186436 w 7186436"/>
              <a:gd name="connsiteY1" fmla="*/ 0 h 6623017"/>
              <a:gd name="connsiteX2" fmla="*/ 7171295 w 7186436"/>
              <a:gd name="connsiteY2" fmla="*/ 6585671 h 6623017"/>
              <a:gd name="connsiteX3" fmla="*/ 0 w 7186436"/>
              <a:gd name="connsiteY3" fmla="*/ 6623017 h 6623017"/>
              <a:gd name="connsiteX4" fmla="*/ 1555798 w 7186436"/>
              <a:gd name="connsiteY4" fmla="*/ 37263 h 6623017"/>
              <a:gd name="connsiteX0" fmla="*/ 1555798 w 7205087"/>
              <a:gd name="connsiteY0" fmla="*/ 37263 h 6623017"/>
              <a:gd name="connsiteX1" fmla="*/ 7186436 w 7205087"/>
              <a:gd name="connsiteY1" fmla="*/ 0 h 6623017"/>
              <a:gd name="connsiteX2" fmla="*/ 7205087 w 7205087"/>
              <a:gd name="connsiteY2" fmla="*/ 6575295 h 6623017"/>
              <a:gd name="connsiteX3" fmla="*/ 0 w 7205087"/>
              <a:gd name="connsiteY3" fmla="*/ 6623017 h 6623017"/>
              <a:gd name="connsiteX4" fmla="*/ 1555798 w 7205087"/>
              <a:gd name="connsiteY4" fmla="*/ 37263 h 6623017"/>
              <a:gd name="connsiteX0" fmla="*/ 1522005 w 7171294"/>
              <a:gd name="connsiteY0" fmla="*/ 37263 h 6623017"/>
              <a:gd name="connsiteX1" fmla="*/ 7152643 w 7171294"/>
              <a:gd name="connsiteY1" fmla="*/ 0 h 6623017"/>
              <a:gd name="connsiteX2" fmla="*/ 7171294 w 7171294"/>
              <a:gd name="connsiteY2" fmla="*/ 6575295 h 6623017"/>
              <a:gd name="connsiteX3" fmla="*/ 0 w 7171294"/>
              <a:gd name="connsiteY3" fmla="*/ 6623017 h 6623017"/>
              <a:gd name="connsiteX4" fmla="*/ 1522005 w 7171294"/>
              <a:gd name="connsiteY4" fmla="*/ 37263 h 6623017"/>
              <a:gd name="connsiteX0" fmla="*/ 1522005 w 7171295"/>
              <a:gd name="connsiteY0" fmla="*/ 3726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37263 h 6627177"/>
              <a:gd name="connsiteX0" fmla="*/ 1522005 w 7171295"/>
              <a:gd name="connsiteY0" fmla="*/ 6441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64413 h 6627177"/>
              <a:gd name="connsiteX0" fmla="*/ 1531216 w 7171295"/>
              <a:gd name="connsiteY0" fmla="*/ 13506 h 6627177"/>
              <a:gd name="connsiteX1" fmla="*/ 7152643 w 7171295"/>
              <a:gd name="connsiteY1" fmla="*/ 0 h 6627177"/>
              <a:gd name="connsiteX2" fmla="*/ 7171295 w 7171295"/>
              <a:gd name="connsiteY2" fmla="*/ 6627177 h 6627177"/>
              <a:gd name="connsiteX3" fmla="*/ 0 w 7171295"/>
              <a:gd name="connsiteY3" fmla="*/ 6623017 h 6627177"/>
              <a:gd name="connsiteX4" fmla="*/ 1531216 w 7171295"/>
              <a:gd name="connsiteY4" fmla="*/ 13506 h 6627177"/>
              <a:gd name="connsiteX0" fmla="*/ 1540427 w 7171295"/>
              <a:gd name="connsiteY0" fmla="*/ 0 h 6630640"/>
              <a:gd name="connsiteX1" fmla="*/ 7152643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40427 w 7171295"/>
              <a:gd name="connsiteY0" fmla="*/ 0 h 6630640"/>
              <a:gd name="connsiteX1" fmla="*/ 7148039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54243 w 7185111"/>
              <a:gd name="connsiteY0" fmla="*/ 0 h 6660418"/>
              <a:gd name="connsiteX1" fmla="*/ 7161855 w 7185111"/>
              <a:gd name="connsiteY1" fmla="*/ 3463 h 6660418"/>
              <a:gd name="connsiteX2" fmla="*/ 7185111 w 7185111"/>
              <a:gd name="connsiteY2" fmla="*/ 6630640 h 6660418"/>
              <a:gd name="connsiteX3" fmla="*/ 0 w 7185111"/>
              <a:gd name="connsiteY3" fmla="*/ 6660418 h 6660418"/>
              <a:gd name="connsiteX4" fmla="*/ 1554243 w 7185111"/>
              <a:gd name="connsiteY4" fmla="*/ 0 h 6660418"/>
              <a:gd name="connsiteX0" fmla="*/ 1545032 w 7175900"/>
              <a:gd name="connsiteY0" fmla="*/ 0 h 6660418"/>
              <a:gd name="connsiteX1" fmla="*/ 7152644 w 7175900"/>
              <a:gd name="connsiteY1" fmla="*/ 3463 h 6660418"/>
              <a:gd name="connsiteX2" fmla="*/ 7175900 w 7175900"/>
              <a:gd name="connsiteY2" fmla="*/ 6630640 h 6660418"/>
              <a:gd name="connsiteX3" fmla="*/ 0 w 7175900"/>
              <a:gd name="connsiteY3" fmla="*/ 6660418 h 6660418"/>
              <a:gd name="connsiteX4" fmla="*/ 1545032 w 7175900"/>
              <a:gd name="connsiteY4" fmla="*/ 0 h 6660418"/>
              <a:gd name="connsiteX0" fmla="*/ 1545032 w 7154465"/>
              <a:gd name="connsiteY0" fmla="*/ 0 h 6673062"/>
              <a:gd name="connsiteX1" fmla="*/ 7152644 w 7154465"/>
              <a:gd name="connsiteY1" fmla="*/ 3463 h 6673062"/>
              <a:gd name="connsiteX2" fmla="*/ 7152874 w 7154465"/>
              <a:gd name="connsiteY2" fmla="*/ 6673062 h 6673062"/>
              <a:gd name="connsiteX3" fmla="*/ 0 w 7154465"/>
              <a:gd name="connsiteY3" fmla="*/ 6660418 h 6673062"/>
              <a:gd name="connsiteX4" fmla="*/ 1545032 w 7154465"/>
              <a:gd name="connsiteY4" fmla="*/ 0 h 6673062"/>
              <a:gd name="connsiteX0" fmla="*/ 1545032 w 7153789"/>
              <a:gd name="connsiteY0" fmla="*/ 0 h 6681546"/>
              <a:gd name="connsiteX1" fmla="*/ 7152644 w 7153789"/>
              <a:gd name="connsiteY1" fmla="*/ 3463 h 6681546"/>
              <a:gd name="connsiteX2" fmla="*/ 7143664 w 7153789"/>
              <a:gd name="connsiteY2" fmla="*/ 6681546 h 6681546"/>
              <a:gd name="connsiteX3" fmla="*/ 0 w 7153789"/>
              <a:gd name="connsiteY3" fmla="*/ 6660418 h 6681546"/>
              <a:gd name="connsiteX4" fmla="*/ 1545032 w 7153789"/>
              <a:gd name="connsiteY4" fmla="*/ 0 h 6681546"/>
              <a:gd name="connsiteX0" fmla="*/ 1549638 w 7158395"/>
              <a:gd name="connsiteY0" fmla="*/ 0 h 6681546"/>
              <a:gd name="connsiteX1" fmla="*/ 7157250 w 7158395"/>
              <a:gd name="connsiteY1" fmla="*/ 3463 h 6681546"/>
              <a:gd name="connsiteX2" fmla="*/ 7148270 w 7158395"/>
              <a:gd name="connsiteY2" fmla="*/ 6681546 h 6681546"/>
              <a:gd name="connsiteX3" fmla="*/ 0 w 7158395"/>
              <a:gd name="connsiteY3" fmla="*/ 6668904 h 6681546"/>
              <a:gd name="connsiteX4" fmla="*/ 1549638 w 7158395"/>
              <a:gd name="connsiteY4" fmla="*/ 0 h 6681546"/>
              <a:gd name="connsiteX0" fmla="*/ 1558849 w 7167606"/>
              <a:gd name="connsiteY0" fmla="*/ 0 h 6681546"/>
              <a:gd name="connsiteX1" fmla="*/ 7166461 w 7167606"/>
              <a:gd name="connsiteY1" fmla="*/ 3463 h 6681546"/>
              <a:gd name="connsiteX2" fmla="*/ 7157481 w 7167606"/>
              <a:gd name="connsiteY2" fmla="*/ 6681546 h 6681546"/>
              <a:gd name="connsiteX3" fmla="*/ 0 w 7167606"/>
              <a:gd name="connsiteY3" fmla="*/ 6677390 h 6681546"/>
              <a:gd name="connsiteX4" fmla="*/ 1558849 w 7167606"/>
              <a:gd name="connsiteY4" fmla="*/ 0 h 6681546"/>
              <a:gd name="connsiteX0" fmla="*/ 1558861 w 7167618"/>
              <a:gd name="connsiteY0" fmla="*/ 0 h 6681546"/>
              <a:gd name="connsiteX1" fmla="*/ 7166473 w 7167618"/>
              <a:gd name="connsiteY1" fmla="*/ 3463 h 6681546"/>
              <a:gd name="connsiteX2" fmla="*/ 7157493 w 7167618"/>
              <a:gd name="connsiteY2" fmla="*/ 6681546 h 6681546"/>
              <a:gd name="connsiteX3" fmla="*/ 12 w 7167618"/>
              <a:gd name="connsiteY3" fmla="*/ 6677390 h 6681546"/>
              <a:gd name="connsiteX4" fmla="*/ 1558861 w 7167618"/>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8861 w 7167212"/>
              <a:gd name="connsiteY4" fmla="*/ 5 h 6681551"/>
              <a:gd name="connsiteX0" fmla="*/ 1554256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4256 w 7167212"/>
              <a:gd name="connsiteY4" fmla="*/ 5 h 6681551"/>
              <a:gd name="connsiteX0" fmla="*/ 1549650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49650 w 7167212"/>
              <a:gd name="connsiteY4" fmla="*/ 5 h 6681551"/>
              <a:gd name="connsiteX0" fmla="*/ 1391955 w 7167212"/>
              <a:gd name="connsiteY0" fmla="*/ 7014 h 6678184"/>
              <a:gd name="connsiteX1" fmla="*/ 7166473 w 7167212"/>
              <a:gd name="connsiteY1" fmla="*/ 101 h 6678184"/>
              <a:gd name="connsiteX2" fmla="*/ 7143678 w 7167212"/>
              <a:gd name="connsiteY2" fmla="*/ 6678184 h 6678184"/>
              <a:gd name="connsiteX3" fmla="*/ 12 w 7167212"/>
              <a:gd name="connsiteY3" fmla="*/ 6674028 h 6678184"/>
              <a:gd name="connsiteX4" fmla="*/ 1391955 w 7167212"/>
              <a:gd name="connsiteY4" fmla="*/ 7014 h 6678184"/>
              <a:gd name="connsiteX0" fmla="*/ 1437012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37012 w 7212269"/>
              <a:gd name="connsiteY4" fmla="*/ 7014 h 6678184"/>
              <a:gd name="connsiteX0" fmla="*/ 1458504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58504 w 7212269"/>
              <a:gd name="connsiteY4" fmla="*/ 7014 h 6678184"/>
              <a:gd name="connsiteX0" fmla="*/ 1446224 w 7199989"/>
              <a:gd name="connsiteY0" fmla="*/ 7014 h 6678184"/>
              <a:gd name="connsiteX1" fmla="*/ 7199250 w 7199989"/>
              <a:gd name="connsiteY1" fmla="*/ 101 h 6678184"/>
              <a:gd name="connsiteX2" fmla="*/ 7176455 w 7199989"/>
              <a:gd name="connsiteY2" fmla="*/ 6678184 h 6678184"/>
              <a:gd name="connsiteX3" fmla="*/ 13 w 7199989"/>
              <a:gd name="connsiteY3" fmla="*/ 6674028 h 6678184"/>
              <a:gd name="connsiteX4" fmla="*/ 1446224 w 7199989"/>
              <a:gd name="connsiteY4" fmla="*/ 7014 h 6678184"/>
              <a:gd name="connsiteX0" fmla="*/ 1446247 w 7200012"/>
              <a:gd name="connsiteY0" fmla="*/ 7014 h 6678184"/>
              <a:gd name="connsiteX1" fmla="*/ 7199273 w 7200012"/>
              <a:gd name="connsiteY1" fmla="*/ 101 h 6678184"/>
              <a:gd name="connsiteX2" fmla="*/ 7176478 w 7200012"/>
              <a:gd name="connsiteY2" fmla="*/ 6678184 h 6678184"/>
              <a:gd name="connsiteX3" fmla="*/ 36 w 7200012"/>
              <a:gd name="connsiteY3" fmla="*/ 6674028 h 6678184"/>
              <a:gd name="connsiteX4" fmla="*/ 1446247 w 7200012"/>
              <a:gd name="connsiteY4" fmla="*/ 7014 h 6678184"/>
              <a:gd name="connsiteX0" fmla="*/ 1496934 w 7250699"/>
              <a:gd name="connsiteY0" fmla="*/ 7014 h 6678184"/>
              <a:gd name="connsiteX1" fmla="*/ 7249960 w 7250699"/>
              <a:gd name="connsiteY1" fmla="*/ 101 h 6678184"/>
              <a:gd name="connsiteX2" fmla="*/ 7227165 w 7250699"/>
              <a:gd name="connsiteY2" fmla="*/ 6678184 h 6678184"/>
              <a:gd name="connsiteX3" fmla="*/ 35 w 7250699"/>
              <a:gd name="connsiteY3" fmla="*/ 6674028 h 6678184"/>
              <a:gd name="connsiteX4" fmla="*/ 1496934 w 7250699"/>
              <a:gd name="connsiteY4" fmla="*/ 7014 h 6678184"/>
              <a:gd name="connsiteX0" fmla="*/ 1480039 w 7250699"/>
              <a:gd name="connsiteY0" fmla="*/ 3 h 6681549"/>
              <a:gd name="connsiteX1" fmla="*/ 7249960 w 7250699"/>
              <a:gd name="connsiteY1" fmla="*/ 3466 h 6681549"/>
              <a:gd name="connsiteX2" fmla="*/ 7227165 w 7250699"/>
              <a:gd name="connsiteY2" fmla="*/ 6681549 h 6681549"/>
              <a:gd name="connsiteX3" fmla="*/ 35 w 7250699"/>
              <a:gd name="connsiteY3" fmla="*/ 6677393 h 6681549"/>
              <a:gd name="connsiteX4" fmla="*/ 1480039 w 7250699"/>
              <a:gd name="connsiteY4" fmla="*/ 3 h 6681549"/>
              <a:gd name="connsiteX0" fmla="*/ 1451881 w 7222541"/>
              <a:gd name="connsiteY0" fmla="*/ 3 h 6681549"/>
              <a:gd name="connsiteX1" fmla="*/ 7221802 w 7222541"/>
              <a:gd name="connsiteY1" fmla="*/ 3466 h 6681549"/>
              <a:gd name="connsiteX2" fmla="*/ 7199007 w 7222541"/>
              <a:gd name="connsiteY2" fmla="*/ 6681549 h 6681549"/>
              <a:gd name="connsiteX3" fmla="*/ 37 w 7222541"/>
              <a:gd name="connsiteY3" fmla="*/ 6667015 h 6681549"/>
              <a:gd name="connsiteX4" fmla="*/ 1451881 w 7222541"/>
              <a:gd name="connsiteY4" fmla="*/ 3 h 6681549"/>
              <a:gd name="connsiteX0" fmla="*/ 23061 w 5793721"/>
              <a:gd name="connsiteY0" fmla="*/ 3 h 6684096"/>
              <a:gd name="connsiteX1" fmla="*/ 5792982 w 5793721"/>
              <a:gd name="connsiteY1" fmla="*/ 3466 h 6684096"/>
              <a:gd name="connsiteX2" fmla="*/ 5770187 w 5793721"/>
              <a:gd name="connsiteY2" fmla="*/ 6681549 h 6684096"/>
              <a:gd name="connsiteX3" fmla="*/ 1308 w 5793721"/>
              <a:gd name="connsiteY3" fmla="*/ 6681418 h 6684096"/>
              <a:gd name="connsiteX4" fmla="*/ 23061 w 5793721"/>
              <a:gd name="connsiteY4" fmla="*/ 3 h 6684096"/>
              <a:gd name="connsiteX0" fmla="*/ 23061 w 5792997"/>
              <a:gd name="connsiteY0" fmla="*/ 3 h 6695951"/>
              <a:gd name="connsiteX1" fmla="*/ 5792982 w 5792997"/>
              <a:gd name="connsiteY1" fmla="*/ 3466 h 6695951"/>
              <a:gd name="connsiteX2" fmla="*/ 3768058 w 5792997"/>
              <a:gd name="connsiteY2" fmla="*/ 6695951 h 6695951"/>
              <a:gd name="connsiteX3" fmla="*/ 1308 w 5792997"/>
              <a:gd name="connsiteY3" fmla="*/ 6681418 h 6695951"/>
              <a:gd name="connsiteX4" fmla="*/ 23061 w 5792997"/>
              <a:gd name="connsiteY4" fmla="*/ 3 h 6695951"/>
              <a:gd name="connsiteX0" fmla="*/ 23061 w 5792981"/>
              <a:gd name="connsiteY0" fmla="*/ 3 h 6695951"/>
              <a:gd name="connsiteX1" fmla="*/ 5792982 w 5792981"/>
              <a:gd name="connsiteY1" fmla="*/ 3466 h 6695951"/>
              <a:gd name="connsiteX2" fmla="*/ 3768058 w 5792981"/>
              <a:gd name="connsiteY2" fmla="*/ 6695951 h 6695951"/>
              <a:gd name="connsiteX3" fmla="*/ 1308 w 5792981"/>
              <a:gd name="connsiteY3" fmla="*/ 6681418 h 6695951"/>
              <a:gd name="connsiteX4" fmla="*/ 23061 w 5792981"/>
              <a:gd name="connsiteY4" fmla="*/ 3 h 6695951"/>
              <a:gd name="connsiteX0" fmla="*/ 23061 w 5792983"/>
              <a:gd name="connsiteY0" fmla="*/ 3 h 6695951"/>
              <a:gd name="connsiteX1" fmla="*/ 5792982 w 5792983"/>
              <a:gd name="connsiteY1" fmla="*/ 3466 h 6695951"/>
              <a:gd name="connsiteX2" fmla="*/ 3716984 w 5792983"/>
              <a:gd name="connsiteY2" fmla="*/ 6695951 h 6695951"/>
              <a:gd name="connsiteX3" fmla="*/ 1308 w 5792983"/>
              <a:gd name="connsiteY3" fmla="*/ 6681418 h 6695951"/>
              <a:gd name="connsiteX4" fmla="*/ 23061 w 5792983"/>
              <a:gd name="connsiteY4" fmla="*/ 3 h 6695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2983" h="6695951">
                <a:moveTo>
                  <a:pt x="23061" y="3"/>
                </a:moveTo>
                <a:cubicBezTo>
                  <a:pt x="17893" y="1157"/>
                  <a:pt x="3923778" y="2312"/>
                  <a:pt x="5792982" y="3466"/>
                </a:cubicBezTo>
                <a:lnTo>
                  <a:pt x="3716984" y="6695951"/>
                </a:lnTo>
                <a:cubicBezTo>
                  <a:pt x="3716453" y="6691380"/>
                  <a:pt x="-9679" y="6689244"/>
                  <a:pt x="1308" y="6681418"/>
                </a:cubicBezTo>
                <a:cubicBezTo>
                  <a:pt x="-7155" y="6701196"/>
                  <a:pt x="28454" y="-5634"/>
                  <a:pt x="23061" y="3"/>
                </a:cubicBezTo>
                <a:close/>
              </a:path>
            </a:pathLst>
          </a:custGeom>
        </p:spPr>
        <p:txBody>
          <a:bodyPr tIns="1188000" anchor="t" anchorCtr="0">
            <a:normAutofit/>
          </a:bodyPr>
          <a:lstStyle>
            <a:lvl1pPr marL="0" indent="0" algn="ctr">
              <a:buNone/>
              <a:defRPr sz="833">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0" name="Text Placeholder 9"/>
          <p:cNvSpPr>
            <a:spLocks noGrp="1"/>
          </p:cNvSpPr>
          <p:nvPr>
            <p:ph type="body" sz="quarter" idx="15"/>
          </p:nvPr>
        </p:nvSpPr>
        <p:spPr>
          <a:xfrm>
            <a:off x="2726923" y="1791597"/>
            <a:ext cx="3888432" cy="6716843"/>
          </a:xfrm>
        </p:spPr>
        <p:txBody>
          <a:bodyPr>
            <a:normAutofit/>
          </a:bodyPr>
          <a:lstStyle>
            <a:lvl1pPr marL="0" indent="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9005" indent="-187665">
              <a:defRPr sz="1042"/>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p:cNvSpPr>
            <a:spLocks noGrp="1"/>
          </p:cNvSpPr>
          <p:nvPr>
            <p:ph type="sldNum" sz="quarter" idx="16"/>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1611389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76946" y="4025909"/>
            <a:ext cx="6102678" cy="1076408"/>
          </a:xfrm>
          <a:prstGeom prst="rect">
            <a:avLst/>
          </a:prstGeom>
        </p:spPr>
        <p:txBody>
          <a:bodyPr vert="horz" lIns="0" tIns="0" rIns="0" bIns="0" rtlCol="0" anchor="ctr" anchorCtr="0">
            <a:normAutofit/>
          </a:bodyPr>
          <a:lstStyle>
            <a:lvl1pPr algn="ctr" rtl="0">
              <a:defRPr b="1">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61273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368528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087749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
        <p:nvSpPr>
          <p:cNvPr id="7" name="TextBox 6"/>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3772277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43168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6" name="Slide Number Placeholder 1"/>
          <p:cNvSpPr>
            <a:spLocks noGrp="1"/>
          </p:cNvSpPr>
          <p:nvPr>
            <p:ph type="sldNum" sz="quarter" idx="10"/>
          </p:nvPr>
        </p:nvSpPr>
        <p:spPr>
          <a:xfrm>
            <a:off x="5481228" y="8700464"/>
            <a:ext cx="1134126" cy="261509"/>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996580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2">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94163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2">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6" y="1128185"/>
            <a:ext cx="3131864" cy="6996211"/>
          </a:xfrm>
        </p:spPr>
        <p:txBody>
          <a:bodyPr anchor="ctr"/>
          <a:lstStyle>
            <a:lvl1pPr>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57281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7" y="63500"/>
            <a:ext cx="6102678" cy="1076408"/>
          </a:xfrm>
          <a:prstGeom prst="rect">
            <a:avLst/>
          </a:prstGeom>
        </p:spPr>
        <p:txBody>
          <a:bodyPr vert="horz" lIns="0" tIns="0" rIns="0" bIns="0" rtlCol="0" anchor="b" anchorCtr="0">
            <a:normAutofit/>
          </a:bodyPr>
          <a:lstStyle>
            <a:lvl1pPr rtl="0">
              <a:defRPr b="1">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5" y="1787146"/>
            <a:ext cx="2883084" cy="6570927"/>
          </a:xfrm>
        </p:spPr>
        <p:txBody>
          <a:bodyPr>
            <a:normAutofit/>
          </a:bodyPr>
          <a:lstStyle>
            <a:lvl1pPr marL="0" indent="0" rtl="0">
              <a:buNone/>
              <a:defRPr sz="1500">
                <a:latin typeface="Segoe UI" panose="020B0502040204020203" pitchFamily="34" charset="0"/>
                <a:ea typeface="Segoe UI" panose="020B0502040204020203" pitchFamily="34" charset="0"/>
                <a:cs typeface="Segoe UI" panose="020B0502040204020203" pitchFamily="34" charset="0"/>
              </a:defRPr>
            </a:lvl1pPr>
            <a:lvl2pPr marL="270259" indent="-270259" rtl="0">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2pPr>
            <a:lvl3pPr marL="536945" indent="-266687" rtl="0">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3pPr>
            <a:lvl4pPr marL="808394" indent="-271450" rtl="0">
              <a:buClr>
                <a:schemeClr val="accent1"/>
              </a:buClr>
              <a:buSzPct val="90000"/>
              <a:buFont typeface="Arial" panose="020B0604020202020204" pitchFamily="34" charset="0"/>
              <a:buChar char="•"/>
              <a:tabLst/>
              <a:defRPr sz="1500">
                <a:latin typeface="Segoe UI" panose="020B0502040204020203" pitchFamily="34" charset="0"/>
                <a:ea typeface="Segoe UI" panose="020B0502040204020203" pitchFamily="34" charset="0"/>
                <a:cs typeface="Segoe UI" panose="020B0502040204020203" pitchFamily="34" charset="0"/>
              </a:defRPr>
            </a:lvl4pPr>
            <a:lvl5pPr marL="1075081" indent="-266687">
              <a:defRPr sz="1500">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quarter" idx="11"/>
          </p:nvPr>
        </p:nvSpPr>
        <p:spPr>
          <a:xfrm>
            <a:off x="3740363" y="1787146"/>
            <a:ext cx="2883084" cy="6570927"/>
          </a:xfrm>
        </p:spPr>
        <p:txBody>
          <a:bodyPr>
            <a:normAutofit/>
          </a:bodyPr>
          <a:lstStyle>
            <a:lvl1pPr marL="0" indent="0" rtl="0">
              <a:buNone/>
              <a:defRPr sz="1500">
                <a:latin typeface="Segoe UI" panose="020B0502040204020203" pitchFamily="34" charset="0"/>
                <a:ea typeface="Segoe UI" panose="020B0502040204020203" pitchFamily="34" charset="0"/>
                <a:cs typeface="Segoe UI" panose="020B0502040204020203" pitchFamily="34" charset="0"/>
              </a:defRPr>
            </a:lvl1pPr>
            <a:lvl2pPr marL="270259" indent="-270259" rtl="0">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2pPr>
            <a:lvl3pPr marL="536945" indent="-266687" rtl="0">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3pPr>
            <a:lvl4pPr marL="808394" indent="-271450" rtl="0">
              <a:buClr>
                <a:schemeClr val="accent1"/>
              </a:buClr>
              <a:buSzPct val="90000"/>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4pPr>
            <a:lvl5pPr marL="1078652" indent="-270259">
              <a:defRPr sz="1500">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t> Offshore Mining and Civil  / </a:t>
            </a:r>
            <a:fld id="{CFD780AD-5876-4BCA-80DC-E96648A7269F}" type="slidenum">
              <a:rPr lang="en-AU" smtClean="0"/>
              <a:pPr/>
              <a:t>‹#›</a:t>
            </a:fld>
            <a:endParaRPr lang="en-AU" dirty="0"/>
          </a:p>
        </p:txBody>
      </p:sp>
      <p:sp>
        <p:nvSpPr>
          <p:cNvPr id="8" name="Freeform 7"/>
          <p:cNvSpPr/>
          <p:nvPr userDrawn="1"/>
        </p:nvSpPr>
        <p:spPr>
          <a:xfrm>
            <a:off x="-7063" y="119498"/>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350" dirty="0"/>
          </a:p>
        </p:txBody>
      </p:sp>
      <p:sp>
        <p:nvSpPr>
          <p:cNvPr id="9" name="Parallelogram 11"/>
          <p:cNvSpPr/>
          <p:nvPr userDrawn="1"/>
        </p:nvSpPr>
        <p:spPr>
          <a:xfrm>
            <a:off x="-7065" y="69129"/>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350" dirty="0"/>
          </a:p>
        </p:txBody>
      </p:sp>
    </p:spTree>
    <p:extLst>
      <p:ext uri="{BB962C8B-B14F-4D97-AF65-F5344CB8AC3E}">
        <p14:creationId xmlns:p14="http://schemas.microsoft.com/office/powerpoint/2010/main" val="288426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2">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132000"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
        <p:nvSpPr>
          <p:cNvPr id="7" name="TextBox 6"/>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2658479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2">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493305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2">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Slide Number Placeholder 1"/>
          <p:cNvSpPr>
            <a:spLocks noGrp="1"/>
          </p:cNvSpPr>
          <p:nvPr>
            <p:ph type="sldNum" sz="quarter" idx="10"/>
          </p:nvPr>
        </p:nvSpPr>
        <p:spPr>
          <a:xfrm>
            <a:off x="5481228" y="8700464"/>
            <a:ext cx="1134126" cy="261509"/>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01728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1">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9" name="Picture Placeholder 18"/>
          <p:cNvSpPr>
            <a:spLocks noGrp="1"/>
          </p:cNvSpPr>
          <p:nvPr>
            <p:ph type="pic" sz="quarter" idx="14"/>
          </p:nvPr>
        </p:nvSpPr>
        <p:spPr>
          <a:xfrm>
            <a:off x="242647" y="461902"/>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08073" y="750861"/>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08080" y="15331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8037" y="1710973"/>
            <a:ext cx="2430308" cy="1824203"/>
          </a:xfrm>
        </p:spPr>
        <p:txBody>
          <a:bodyPr>
            <a:noAutofit/>
          </a:bodyPr>
          <a:lstStyle>
            <a:lvl1pPr marL="0" indent="0" rtl="0">
              <a:spcAft>
                <a:spcPts val="0"/>
              </a:spcAft>
              <a:buFont typeface="Arial" panose="020B0604020202020204" pitchFamily="34" charset="0"/>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337299" indent="-148808">
              <a:spcAft>
                <a:spcPts val="0"/>
              </a:spcAft>
              <a:buFont typeface="Arial" panose="020B0604020202020204" pitchFamily="34" charset="0"/>
              <a:buChar char="•"/>
              <a:defRPr sz="729">
                <a:solidFill>
                  <a:schemeClr val="bg1"/>
                </a:solidFill>
              </a:defRPr>
            </a:lvl2pPr>
            <a:lvl3pPr marL="483629" indent="-148808">
              <a:spcAft>
                <a:spcPts val="0"/>
              </a:spcAft>
              <a:buFont typeface="Arial" panose="020B0604020202020204" pitchFamily="34" charset="0"/>
              <a:buChar char="•"/>
              <a:defRPr sz="729">
                <a:solidFill>
                  <a:schemeClr val="bg1"/>
                </a:solidFill>
              </a:defRPr>
            </a:lvl3pPr>
            <a:lvl4pPr marL="619211" indent="-148808">
              <a:spcAft>
                <a:spcPts val="0"/>
              </a:spcAft>
              <a:buFont typeface="Arial" panose="020B0604020202020204" pitchFamily="34" charset="0"/>
              <a:buChar char="•"/>
              <a:defRPr sz="729">
                <a:solidFill>
                  <a:schemeClr val="bg1"/>
                </a:solidFill>
              </a:defRPr>
            </a:lvl4pPr>
            <a:lvl5pPr marL="760578" indent="-148808">
              <a:spcAft>
                <a:spcPts val="0"/>
              </a:spcAft>
              <a:buFont typeface="Arial" panose="020B0604020202020204" pitchFamily="34" charset="0"/>
              <a:buChar char="•"/>
              <a:defRPr sz="729">
                <a:solidFill>
                  <a:schemeClr val="bg1"/>
                </a:solidFill>
              </a:defRPr>
            </a:lvl5pPr>
          </a:lstStyle>
          <a:p>
            <a:pPr lvl="0"/>
            <a:r>
              <a:rPr lang="en-US"/>
              <a:t>Click to edit Master text styles</a:t>
            </a:r>
          </a:p>
        </p:txBody>
      </p:sp>
      <p:sp>
        <p:nvSpPr>
          <p:cNvPr id="10" name="TextBox 9"/>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357576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2">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a:off x="296653" y="5436101"/>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62080" y="5723245"/>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62083" y="6492213"/>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62043" y="6683349"/>
            <a:ext cx="2430308" cy="1824203"/>
          </a:xfrm>
        </p:spPr>
        <p:txBody>
          <a:bodyPr>
            <a:noAutofit/>
          </a:bodyPr>
          <a:lstStyle>
            <a:lvl1pPr marL="0" indent="0" rtl="0">
              <a:spcAft>
                <a:spcPts val="0"/>
              </a:spcAft>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56620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3">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a:off x="3126430" y="443549"/>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ctr">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3707123" y="635573"/>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07144" y="14045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23067" y="1595677"/>
            <a:ext cx="2430308" cy="1824203"/>
          </a:xfrm>
        </p:spPr>
        <p:txBody>
          <a:bodyPr>
            <a:noAutofit/>
          </a:bodyPr>
          <a:lstStyle>
            <a:lvl1pPr marL="0" indent="0" rtl="0">
              <a:spcAft>
                <a:spcPts val="0"/>
              </a:spcAft>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958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4">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flipV="1">
            <a:off x="3122230" y="5506157"/>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l" rtl="0">
              <a:buNone/>
              <a:defRPr sz="10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2" name="Title 1"/>
          <p:cNvSpPr>
            <a:spLocks noGrp="1"/>
          </p:cNvSpPr>
          <p:nvPr>
            <p:ph type="title"/>
          </p:nvPr>
        </p:nvSpPr>
        <p:spPr>
          <a:xfrm>
            <a:off x="3957641" y="5698173"/>
            <a:ext cx="2661609"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48836" y="6467149"/>
            <a:ext cx="2920524"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18867" y="6658285"/>
            <a:ext cx="2430308" cy="1824203"/>
          </a:xfrm>
        </p:spPr>
        <p:txBody>
          <a:bodyPr>
            <a:noAutofit/>
          </a:bodyPr>
          <a:lstStyle>
            <a:lvl1pPr marL="0" indent="0">
              <a:spcAft>
                <a:spcPts val="0"/>
              </a:spcAft>
              <a:buNone/>
              <a:defRPr sz="729">
                <a:solidFill>
                  <a:schemeClr val="bg1"/>
                </a:solidFill>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71942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dirty="0"/>
              <a:t>Click to edit Master title style</a:t>
            </a:r>
          </a:p>
        </p:txBody>
      </p:sp>
      <p:sp>
        <p:nvSpPr>
          <p:cNvPr id="3" name="Rectangle 5"/>
          <p:cNvSpPr>
            <a:spLocks noGrp="1" noChangeArrowheads="1"/>
          </p:cNvSpPr>
          <p:nvPr>
            <p:ph type="sldNum" sz="quarter" idx="10"/>
          </p:nvPr>
        </p:nvSpPr>
        <p:spPr>
          <a:ln/>
        </p:spPr>
        <p:txBody>
          <a:bodyPr/>
          <a:lstStyle>
            <a:lvl1pPr>
              <a:defRPr/>
            </a:lvl1pPr>
          </a:lstStyle>
          <a:p>
            <a:pPr>
              <a:defRPr/>
            </a:pPr>
            <a:fld id="{ED6B66F1-1624-432A-86ED-F30EBCDCEC66}" type="slidenum">
              <a:rPr lang="en-US">
                <a:solidFill>
                  <a:srgbClr val="FFFFFF">
                    <a:lumMod val="50000"/>
                  </a:srgbClr>
                </a:solidFill>
              </a:rPr>
              <a:pPr>
                <a:defRPr/>
              </a:pPr>
              <a:t>‹#›</a:t>
            </a:fld>
            <a:endParaRPr lang="en-US" dirty="0">
              <a:solidFill>
                <a:srgbClr val="FFFFFF">
                  <a:lumMod val="50000"/>
                </a:srgbClr>
              </a:solidFill>
            </a:endParaRPr>
          </a:p>
        </p:txBody>
      </p:sp>
    </p:spTree>
    <p:extLst>
      <p:ext uri="{BB962C8B-B14F-4D97-AF65-F5344CB8AC3E}">
        <p14:creationId xmlns:p14="http://schemas.microsoft.com/office/powerpoint/2010/main" val="25573633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dvisian Cover white">
    <p:spTree>
      <p:nvGrpSpPr>
        <p:cNvPr id="1" name=""/>
        <p:cNvGrpSpPr/>
        <p:nvPr/>
      </p:nvGrpSpPr>
      <p:grpSpPr>
        <a:xfrm>
          <a:off x="0" y="0"/>
          <a:ext cx="0" cy="0"/>
          <a:chOff x="0" y="0"/>
          <a:chExt cx="0" cy="0"/>
        </a:xfrm>
      </p:grpSpPr>
      <p:sp>
        <p:nvSpPr>
          <p:cNvPr id="10" name="Freeform 9"/>
          <p:cNvSpPr/>
          <p:nvPr userDrawn="1"/>
        </p:nvSpPr>
        <p:spPr>
          <a:xfrm>
            <a:off x="3080385" y="-30480"/>
            <a:ext cx="3794760" cy="7345680"/>
          </a:xfrm>
          <a:custGeom>
            <a:avLst/>
            <a:gdLst>
              <a:gd name="connsiteX0" fmla="*/ 0 w 5059680"/>
              <a:gd name="connsiteY0" fmla="*/ 7620 h 5509260"/>
              <a:gd name="connsiteX1" fmla="*/ 2095500 w 5059680"/>
              <a:gd name="connsiteY1" fmla="*/ 5509260 h 5509260"/>
              <a:gd name="connsiteX2" fmla="*/ 5059680 w 5059680"/>
              <a:gd name="connsiteY2" fmla="*/ 5509260 h 5509260"/>
              <a:gd name="connsiteX3" fmla="*/ 5059680 w 5059680"/>
              <a:gd name="connsiteY3" fmla="*/ 0 h 5509260"/>
              <a:gd name="connsiteX4" fmla="*/ 0 w 5059680"/>
              <a:gd name="connsiteY4" fmla="*/ 7620 h 5509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9680" h="5509260">
                <a:moveTo>
                  <a:pt x="0" y="7620"/>
                </a:moveTo>
                <a:lnTo>
                  <a:pt x="2095500" y="5509260"/>
                </a:lnTo>
                <a:lnTo>
                  <a:pt x="5059680" y="5509260"/>
                </a:lnTo>
                <a:lnTo>
                  <a:pt x="5059680" y="0"/>
                </a:lnTo>
                <a:lnTo>
                  <a:pt x="0" y="762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13" name="Parallelogram 10"/>
          <p:cNvSpPr/>
          <p:nvPr userDrawn="1"/>
        </p:nvSpPr>
        <p:spPr>
          <a:xfrm>
            <a:off x="0" y="921328"/>
            <a:ext cx="5696472" cy="8222677"/>
          </a:xfrm>
          <a:custGeom>
            <a:avLst/>
            <a:gdLst/>
            <a:ahLst/>
            <a:cxnLst/>
            <a:rect l="l" t="t" r="r" b="b"/>
            <a:pathLst>
              <a:path w="7595296" h="6167008">
                <a:moveTo>
                  <a:pt x="979814" y="0"/>
                </a:moveTo>
                <a:lnTo>
                  <a:pt x="7595296" y="0"/>
                </a:lnTo>
                <a:lnTo>
                  <a:pt x="4949095" y="6167008"/>
                </a:lnTo>
                <a:lnTo>
                  <a:pt x="4805101" y="6167008"/>
                </a:lnTo>
                <a:lnTo>
                  <a:pt x="7389158" y="144828"/>
                </a:lnTo>
                <a:lnTo>
                  <a:pt x="1086113" y="144828"/>
                </a:lnTo>
                <a:lnTo>
                  <a:pt x="0" y="2676029"/>
                </a:lnTo>
                <a:lnTo>
                  <a:pt x="0" y="228347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pic>
        <p:nvPicPr>
          <p:cNvPr id="18"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59708" y="7776864"/>
            <a:ext cx="1350150" cy="827589"/>
          </a:xfrm>
          <a:prstGeom prst="rect">
            <a:avLst/>
          </a:prstGeom>
        </p:spPr>
      </p:pic>
      <p:sp>
        <p:nvSpPr>
          <p:cNvPr id="20" name="Date Placeholder 3"/>
          <p:cNvSpPr txBox="1">
            <a:spLocks/>
          </p:cNvSpPr>
          <p:nvPr userDrawn="1"/>
        </p:nvSpPr>
        <p:spPr>
          <a:xfrm>
            <a:off x="620316" y="8368795"/>
            <a:ext cx="952128" cy="288032"/>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521" dirty="0">
                <a:solidFill>
                  <a:srgbClr val="000000"/>
                </a:solidFill>
                <a:ea typeface="Segoe UI" panose="020B0502040204020203" pitchFamily="34" charset="0"/>
                <a:cs typeface="Segoe UI" panose="020B0502040204020203" pitchFamily="34" charset="0"/>
              </a:rPr>
              <a:t>www.</a:t>
            </a:r>
            <a:r>
              <a:rPr lang="en-AU" sz="521" b="1" dirty="0">
                <a:solidFill>
                  <a:srgbClr val="000000"/>
                </a:solidFill>
                <a:ea typeface="Segoe UI" panose="020B0502040204020203" pitchFamily="34" charset="0"/>
                <a:cs typeface="Segoe UI" panose="020B0502040204020203" pitchFamily="34" charset="0"/>
              </a:rPr>
              <a:t>Offshore Mining and Civil</a:t>
            </a:r>
            <a:r>
              <a:rPr lang="en-AU" sz="521" dirty="0">
                <a:solidFill>
                  <a:srgbClr val="000000"/>
                </a:solidFill>
                <a:ea typeface="Segoe UI" panose="020B0502040204020203" pitchFamily="34" charset="0"/>
                <a:cs typeface="Segoe UI" panose="020B0502040204020203" pitchFamily="34" charset="0"/>
              </a:rPr>
              <a:t>.com</a:t>
            </a:r>
          </a:p>
        </p:txBody>
      </p:sp>
      <p:sp>
        <p:nvSpPr>
          <p:cNvPr id="3" name="Title 2"/>
          <p:cNvSpPr>
            <a:spLocks noGrp="1"/>
          </p:cNvSpPr>
          <p:nvPr>
            <p:ph type="title"/>
          </p:nvPr>
        </p:nvSpPr>
        <p:spPr>
          <a:xfrm>
            <a:off x="620319" y="2873720"/>
            <a:ext cx="2992859" cy="1990389"/>
          </a:xfrm>
        </p:spPr>
        <p:txBody>
          <a:bodyPr/>
          <a:lstStyle>
            <a:lvl1pPr rtl="0">
              <a:defRPr/>
            </a:lvl1pPr>
          </a:lstStyle>
          <a:p>
            <a:r>
              <a:rPr lang="en-US"/>
              <a:t>Click to edit Master title style</a:t>
            </a:r>
            <a:endParaRPr lang="en-AU" dirty="0"/>
          </a:p>
        </p:txBody>
      </p:sp>
      <p:sp>
        <p:nvSpPr>
          <p:cNvPr id="6" name="Text Placeholder 5"/>
          <p:cNvSpPr>
            <a:spLocks noGrp="1"/>
          </p:cNvSpPr>
          <p:nvPr>
            <p:ph type="body" sz="quarter" idx="10"/>
          </p:nvPr>
        </p:nvSpPr>
        <p:spPr>
          <a:xfrm>
            <a:off x="620319" y="5080008"/>
            <a:ext cx="3022997" cy="524933"/>
          </a:xfrm>
        </p:spPr>
        <p:txBody>
          <a:bodyPr>
            <a:noAutofit/>
          </a:bodyPr>
          <a:lstStyle>
            <a:lvl1pPr rtl="0">
              <a:spcAft>
                <a:spcPts val="0"/>
              </a:spcAft>
              <a:defRPr sz="938"/>
            </a:lvl1pPr>
            <a:lvl2pPr>
              <a:defRPr sz="938"/>
            </a:lvl2pPr>
            <a:lvl3pPr>
              <a:defRPr sz="938"/>
            </a:lvl3pPr>
            <a:lvl4pPr>
              <a:defRPr sz="938"/>
            </a:lvl4pPr>
            <a:lvl5pPr>
              <a:defRPr sz="938"/>
            </a:lvl5pPr>
          </a:lstStyle>
          <a:p>
            <a:pPr lvl="0"/>
            <a:r>
              <a:rPr lang="en-US"/>
              <a:t>Click to edit Master text styles</a:t>
            </a:r>
          </a:p>
        </p:txBody>
      </p:sp>
      <p:sp>
        <p:nvSpPr>
          <p:cNvPr id="8" name="Text Placeholder 7"/>
          <p:cNvSpPr>
            <a:spLocks noGrp="1"/>
          </p:cNvSpPr>
          <p:nvPr>
            <p:ph type="body" sz="quarter" idx="11"/>
          </p:nvPr>
        </p:nvSpPr>
        <p:spPr>
          <a:xfrm>
            <a:off x="620319" y="6487649"/>
            <a:ext cx="3044429" cy="711200"/>
          </a:xfrm>
        </p:spPr>
        <p:txBody>
          <a:bodyPr>
            <a:noAutofit/>
          </a:bodyPr>
          <a:lstStyle>
            <a:lvl1pPr marL="0" indent="0" rtl="0">
              <a:spcAft>
                <a:spcPts val="0"/>
              </a:spcAft>
              <a:buFont typeface="Arial" panose="020B0604020202020204" pitchFamily="34" charset="0"/>
              <a:buNone/>
              <a:defRPr sz="521"/>
            </a:lvl1pPr>
            <a:lvl2pPr marL="0" indent="0">
              <a:buNone/>
              <a:defRPr sz="521"/>
            </a:lvl2pPr>
            <a:lvl3pPr marL="186838" indent="0">
              <a:buNone/>
              <a:defRPr sz="521"/>
            </a:lvl3pPr>
            <a:lvl4pPr marL="372849" indent="0">
              <a:buNone/>
              <a:defRPr sz="521"/>
            </a:lvl4pPr>
            <a:lvl5pPr marL="559687" indent="0">
              <a:buNone/>
              <a:defRPr sz="521"/>
            </a:lvl5pPr>
          </a:lstStyle>
          <a:p>
            <a:pPr lvl="0"/>
            <a:r>
              <a:rPr lang="en-US"/>
              <a:t>Click to edit Master text styles</a:t>
            </a:r>
          </a:p>
        </p:txBody>
      </p:sp>
      <p:grpSp>
        <p:nvGrpSpPr>
          <p:cNvPr id="11" name="Group 10"/>
          <p:cNvGrpSpPr/>
          <p:nvPr userDrawn="1"/>
        </p:nvGrpSpPr>
        <p:grpSpPr>
          <a:xfrm>
            <a:off x="6939441" y="26"/>
            <a:ext cx="2557463" cy="8863937"/>
            <a:chOff x="9252585" y="0"/>
            <a:chExt cx="3409950" cy="6647953"/>
          </a:xfrm>
        </p:grpSpPr>
        <p:sp>
          <p:nvSpPr>
            <p:cNvPr id="12" name="TextBox 11"/>
            <p:cNvSpPr txBox="1"/>
            <p:nvPr userDrawn="1"/>
          </p:nvSpPr>
          <p:spPr>
            <a:xfrm>
              <a:off x="9252585" y="0"/>
              <a:ext cx="3409950" cy="2533867"/>
            </a:xfrm>
            <a:prstGeom prst="rect">
              <a:avLst/>
            </a:prstGeom>
            <a:solidFill>
              <a:schemeClr val="accent2"/>
            </a:solidFill>
          </p:spPr>
          <p:txBody>
            <a:bodyPr wrap="square" rtlCol="0">
              <a:spAutoFit/>
            </a:bodyPr>
            <a:lstStyle/>
            <a:p>
              <a:r>
                <a:rPr lang="en-AU" sz="625" b="1" dirty="0">
                  <a:solidFill>
                    <a:srgbClr val="FFFFFF"/>
                  </a:solidFill>
                </a:rPr>
                <a:t>INSTRUCTIONS FOR CHANGING </a:t>
              </a:r>
              <a:br>
                <a:rPr lang="en-AU" sz="625" b="1" dirty="0">
                  <a:solidFill>
                    <a:srgbClr val="FFFFFF"/>
                  </a:solidFill>
                </a:rPr>
              </a:br>
              <a:r>
                <a:rPr lang="en-AU" sz="625" b="1" dirty="0">
                  <a:solidFill>
                    <a:srgbClr val="FFFFFF"/>
                  </a:solidFill>
                </a:rPr>
                <a:t>COVER IMAGES:</a:t>
              </a:r>
            </a:p>
            <a:p>
              <a:pPr marL="148808" indent="-148808">
                <a:buFont typeface="Arial" panose="020B0604020202020204" pitchFamily="34" charset="0"/>
                <a:buChar char="•"/>
              </a:pPr>
              <a:endParaRPr lang="en-AU" sz="521" dirty="0">
                <a:solidFill>
                  <a:srgbClr val="FFFFFF"/>
                </a:solidFill>
                <a:latin typeface="Segoe UI Semibold" panose="020B0702040204020203" pitchFamily="34" charset="0"/>
              </a:endParaRPr>
            </a:p>
            <a:p>
              <a:pPr marL="148808" indent="-148808">
                <a:buFont typeface="+mj-lt"/>
                <a:buAutoNum type="arabicPeriod"/>
              </a:pPr>
              <a:r>
                <a:rPr lang="en-AU" sz="521" dirty="0">
                  <a:solidFill>
                    <a:srgbClr val="FFFFFF"/>
                  </a:solidFill>
                  <a:latin typeface="Segoe UI Semibold" panose="020B0702040204020203" pitchFamily="34" charset="0"/>
                </a:rPr>
                <a:t>Select both images by holding down </a:t>
              </a:r>
              <a:br>
                <a:rPr lang="en-AU" sz="521" dirty="0">
                  <a:solidFill>
                    <a:srgbClr val="FFFFFF"/>
                  </a:solidFill>
                  <a:latin typeface="Segoe UI Semibold" panose="020B0702040204020203" pitchFamily="34" charset="0"/>
                </a:rPr>
              </a:br>
              <a:r>
                <a:rPr lang="en-AU" sz="521" dirty="0">
                  <a:solidFill>
                    <a:srgbClr val="FFFFFF"/>
                  </a:solidFill>
                  <a:latin typeface="Segoe UI Semibold" panose="020B0702040204020203" pitchFamily="34" charset="0"/>
                </a:rPr>
                <a:t>the ‘Ctrl’ button</a:t>
              </a:r>
            </a:p>
            <a:p>
              <a:pPr marL="148808" indent="-148808">
                <a:buFont typeface="+mj-lt"/>
                <a:buAutoNum type="arabicPeriod"/>
              </a:pPr>
              <a:r>
                <a:rPr lang="en-AU" sz="521" dirty="0">
                  <a:solidFill>
                    <a:srgbClr val="FFFFFF"/>
                  </a:solidFill>
                  <a:latin typeface="Segoe UI Semibold" panose="020B0702040204020203" pitchFamily="34" charset="0"/>
                </a:rPr>
                <a:t>Go to </a:t>
              </a:r>
              <a:r>
                <a:rPr lang="en-AU" sz="521" b="1" dirty="0">
                  <a:solidFill>
                    <a:srgbClr val="00AEEF"/>
                  </a:solidFill>
                </a:rPr>
                <a:t>DRAWING TOOLS</a:t>
              </a:r>
            </a:p>
            <a:p>
              <a:pPr marL="148808" indent="-148808">
                <a:buFont typeface="+mj-lt"/>
                <a:buAutoNum type="arabicPeriod"/>
              </a:pPr>
              <a:r>
                <a:rPr lang="en-AU" sz="521" dirty="0">
                  <a:solidFill>
                    <a:srgbClr val="FFFFFF"/>
                  </a:solidFill>
                  <a:latin typeface="Segoe UI Semibold" panose="020B0702040204020203" pitchFamily="34" charset="0"/>
                </a:rPr>
                <a:t>Click the arrow next to </a:t>
              </a:r>
              <a:r>
                <a:rPr lang="en-AU" sz="521" b="1" dirty="0">
                  <a:solidFill>
                    <a:srgbClr val="00AEEF"/>
                  </a:solidFill>
                </a:rPr>
                <a:t>SHAPE FILL</a:t>
              </a:r>
            </a:p>
            <a:p>
              <a:pPr marL="148808" indent="-148808">
                <a:buFont typeface="+mj-lt"/>
                <a:buAutoNum type="arabicPeriod"/>
              </a:pPr>
              <a:r>
                <a:rPr lang="en-AU" sz="521" dirty="0">
                  <a:solidFill>
                    <a:srgbClr val="FFFFFF"/>
                  </a:solidFill>
                  <a:latin typeface="Segoe UI Semibold" panose="020B0702040204020203" pitchFamily="34" charset="0"/>
                </a:rPr>
                <a:t>Click </a:t>
              </a:r>
              <a:r>
                <a:rPr lang="en-AU" sz="521" b="1" dirty="0">
                  <a:solidFill>
                    <a:srgbClr val="00AEEF"/>
                  </a:solidFill>
                </a:rPr>
                <a:t>PICTURE</a:t>
              </a:r>
            </a:p>
            <a:p>
              <a:pPr marL="148808" indent="-148808">
                <a:buFont typeface="+mj-lt"/>
                <a:buAutoNum type="arabicPeriod"/>
              </a:pPr>
              <a:r>
                <a:rPr lang="en-AU" sz="521" dirty="0">
                  <a:solidFill>
                    <a:srgbClr val="FFFFFF"/>
                  </a:solidFill>
                  <a:latin typeface="Segoe UI Semibold" panose="020B0702040204020203" pitchFamily="34" charset="0"/>
                </a:rPr>
                <a:t>Locate the folder that contains the picture you want to use and click </a:t>
              </a:r>
              <a:r>
                <a:rPr lang="en-AU" sz="521" b="1" dirty="0">
                  <a:solidFill>
                    <a:srgbClr val="00AEEF"/>
                  </a:solidFill>
                </a:rPr>
                <a:t>INSERT</a:t>
              </a: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a:buFont typeface="+mj-lt"/>
                <a:buNone/>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Arial" panose="020B0604020202020204" pitchFamily="34" charset="0"/>
                <a:buChar char="•"/>
              </a:pPr>
              <a:endParaRPr lang="en-AU" sz="521" dirty="0">
                <a:solidFill>
                  <a:srgbClr val="FFFFFF"/>
                </a:solidFill>
                <a:latin typeface="Segoe UI Semibold" panose="020B0702040204020203" pitchFamily="34" charset="0"/>
              </a:endParaRPr>
            </a:p>
            <a:p>
              <a:pPr>
                <a:buFont typeface="Arial" panose="020B0604020202020204" pitchFamily="34" charset="0"/>
                <a:buNone/>
              </a:pPr>
              <a:r>
                <a:rPr lang="en-AU" sz="625" b="1" dirty="0">
                  <a:solidFill>
                    <a:srgbClr val="FFFFFF"/>
                  </a:solidFill>
                </a:rPr>
                <a:t>INSTRUCTIONS TO RESIZE AND REPOSITION YOUR IMAGE:</a:t>
              </a:r>
            </a:p>
            <a:p>
              <a:pPr>
                <a:buFont typeface="Arial" panose="020B0604020202020204" pitchFamily="34" charset="0"/>
                <a:buNone/>
              </a:pPr>
              <a:endParaRPr lang="en-AU" sz="521" b="1" dirty="0">
                <a:solidFill>
                  <a:srgbClr val="FFFFFF"/>
                </a:solidFill>
              </a:endParaRPr>
            </a:p>
            <a:p>
              <a:pPr marL="148808" indent="-148808">
                <a:buFont typeface="+mj-lt"/>
                <a:buAutoNum type="arabicPeriod"/>
                <a:defRPr/>
              </a:pPr>
              <a:r>
                <a:rPr lang="en-AU" sz="521" dirty="0">
                  <a:solidFill>
                    <a:srgbClr val="FFFFFF"/>
                  </a:solidFill>
                  <a:latin typeface="Segoe UI Semibold" panose="020B0702040204020203" pitchFamily="34" charset="0"/>
                </a:rPr>
                <a:t>Click the image you want to edit</a:t>
              </a:r>
            </a:p>
            <a:p>
              <a:pPr marL="148808" indent="-148808">
                <a:buFont typeface="+mj-lt"/>
                <a:buAutoNum type="arabicPeriod"/>
                <a:defRPr/>
              </a:pPr>
              <a:r>
                <a:rPr lang="en-AU" sz="521" dirty="0">
                  <a:solidFill>
                    <a:srgbClr val="FFFFFF"/>
                  </a:solidFill>
                  <a:latin typeface="Segoe UI Semibold" panose="020B0702040204020203" pitchFamily="34" charset="0"/>
                </a:rPr>
                <a:t>Go to </a:t>
              </a:r>
              <a:r>
                <a:rPr lang="en-AU" sz="521" b="1" dirty="0">
                  <a:solidFill>
                    <a:srgbClr val="00AEEF"/>
                  </a:solidFill>
                </a:rPr>
                <a:t>PICTURE TOOLS </a:t>
              </a:r>
            </a:p>
            <a:p>
              <a:pPr marL="148808" indent="-148808">
                <a:buFont typeface="+mj-lt"/>
                <a:buAutoNum type="arabicPeriod"/>
                <a:defRPr/>
              </a:pPr>
              <a:r>
                <a:rPr lang="en-AU" sz="521" dirty="0">
                  <a:solidFill>
                    <a:srgbClr val="FFFFFF"/>
                  </a:solidFill>
                  <a:latin typeface="Segoe UI Semibold" panose="020B0702040204020203" pitchFamily="34" charset="0"/>
                </a:rPr>
                <a:t>To maintain the original size and format </a:t>
              </a:r>
              <a:br>
                <a:rPr lang="en-AU" sz="521" dirty="0">
                  <a:solidFill>
                    <a:srgbClr val="FFFFFF"/>
                  </a:solidFill>
                  <a:latin typeface="Segoe UI Semibold" panose="020B0702040204020203" pitchFamily="34" charset="0"/>
                </a:rPr>
              </a:br>
              <a:r>
                <a:rPr lang="en-AU" sz="521" dirty="0">
                  <a:solidFill>
                    <a:srgbClr val="FFFFFF"/>
                  </a:solidFill>
                  <a:latin typeface="Segoe UI Semibold" panose="020B0702040204020203" pitchFamily="34" charset="0"/>
                </a:rPr>
                <a:t>of the image, click the arrow under </a:t>
              </a:r>
              <a:r>
                <a:rPr lang="en-AU" sz="521" b="1" dirty="0">
                  <a:solidFill>
                    <a:srgbClr val="00AEEF"/>
                  </a:solidFill>
                </a:rPr>
                <a:t>CROP</a:t>
              </a:r>
              <a:r>
                <a:rPr lang="en-AU" sz="521" dirty="0">
                  <a:solidFill>
                    <a:srgbClr val="FFFFFF"/>
                  </a:solidFill>
                  <a:latin typeface="Segoe UI Semibold" panose="020B0702040204020203" pitchFamily="34" charset="0"/>
                </a:rPr>
                <a:t> and click </a:t>
              </a:r>
              <a:r>
                <a:rPr lang="en-AU" sz="521" b="1" dirty="0">
                  <a:solidFill>
                    <a:srgbClr val="00AEEF"/>
                  </a:solidFill>
                </a:rPr>
                <a:t>FIT</a:t>
              </a: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r>
                <a:rPr lang="en-AU" sz="521" dirty="0">
                  <a:solidFill>
                    <a:srgbClr val="FFFFFF"/>
                  </a:solidFill>
                  <a:latin typeface="Segoe UI Semibold" panose="020B0702040204020203" pitchFamily="34" charset="0"/>
                </a:rPr>
                <a:t>To reposition or resize your image, click </a:t>
              </a:r>
              <a:r>
                <a:rPr lang="en-AU" sz="521" b="1" dirty="0">
                  <a:solidFill>
                    <a:srgbClr val="00AEEF"/>
                  </a:solidFill>
                </a:rPr>
                <a:t>CROP</a:t>
              </a:r>
              <a:r>
                <a:rPr lang="en-AU" sz="521" dirty="0">
                  <a:solidFill>
                    <a:srgbClr val="FFFFFF"/>
                  </a:solidFill>
                  <a:latin typeface="Segoe UI Semibold" panose="020B0702040204020203" pitchFamily="34" charset="0"/>
                </a:rPr>
                <a:t>, and use the circles on the edge of the image</a:t>
              </a: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p:txBody>
        </p:sp>
        <p:pic>
          <p:nvPicPr>
            <p:cNvPr id="14" name="Picture 13"/>
            <p:cNvPicPr/>
            <p:nvPr userDrawn="1"/>
          </p:nvPicPr>
          <p:blipFill rotWithShape="1">
            <a:blip r:embed="rId3"/>
            <a:srcRect r="51341"/>
            <a:stretch/>
          </p:blipFill>
          <p:spPr bwMode="auto">
            <a:xfrm>
              <a:off x="9629774" y="1683234"/>
              <a:ext cx="1962152" cy="1325024"/>
            </a:xfrm>
            <a:prstGeom prst="rect">
              <a:avLst/>
            </a:prstGeom>
            <a:ln>
              <a:noFill/>
            </a:ln>
            <a:extLst>
              <a:ext uri="{53640926-AAD7-44D8-BBD7-CCE9431645EC}">
                <a14:shadowObscured xmlns:a14="http://schemas.microsoft.com/office/drawing/2010/main"/>
              </a:ext>
            </a:extLst>
          </p:spPr>
        </p:pic>
        <p:pic>
          <p:nvPicPr>
            <p:cNvPr id="1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629774" y="4508500"/>
              <a:ext cx="849363" cy="1139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5"/>
            <p:cNvPicPr/>
            <p:nvPr userDrawn="1"/>
          </p:nvPicPr>
          <p:blipFill rotWithShape="1">
            <a:blip r:embed="rId5"/>
            <a:srcRect l="28204" t="64535" r="61298" b="23643"/>
            <a:stretch/>
          </p:blipFill>
          <p:spPr bwMode="auto">
            <a:xfrm>
              <a:off x="9629774" y="6089637"/>
              <a:ext cx="1508895" cy="558316"/>
            </a:xfrm>
            <a:prstGeom prst="rect">
              <a:avLst/>
            </a:prstGeom>
            <a:ln>
              <a:noFill/>
            </a:ln>
            <a:extLst>
              <a:ext uri="{53640926-AAD7-44D8-BBD7-CCE9431645EC}">
                <a14:shadowObscured xmlns:a14="http://schemas.microsoft.com/office/drawing/2010/main"/>
              </a:ext>
            </a:extLst>
          </p:spPr>
        </p:pic>
        <p:sp>
          <p:nvSpPr>
            <p:cNvPr id="19" name="Oval 18"/>
            <p:cNvSpPr/>
            <p:nvPr userDrawn="1"/>
          </p:nvSpPr>
          <p:spPr>
            <a:xfrm>
              <a:off x="9896475" y="6276596"/>
              <a:ext cx="582662" cy="21602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grpSp>
    </p:spTree>
    <p:extLst>
      <p:ext uri="{BB962C8B-B14F-4D97-AF65-F5344CB8AC3E}">
        <p14:creationId xmlns:p14="http://schemas.microsoft.com/office/powerpoint/2010/main" val="3841046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Advisian title &amp; text 2 column">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4" name="Rectangle 3"/>
          <p:cNvSpPr/>
          <p:nvPr userDrawn="1"/>
        </p:nvSpPr>
        <p:spPr>
          <a:xfrm>
            <a:off x="250034" y="5178731"/>
            <a:ext cx="6372225" cy="1166345"/>
          </a:xfrm>
          <a:prstGeom prst="rect">
            <a:avLst/>
          </a:prstGeom>
        </p:spPr>
        <p:txBody>
          <a:bodyPr wrap="square">
            <a:spAutoFit/>
          </a:bodyPr>
          <a:lstStyle/>
          <a:p>
            <a:pPr>
              <a:spcAft>
                <a:spcPts val="313"/>
              </a:spcAft>
            </a:pPr>
            <a:r>
              <a:rPr lang="en-AU" sz="521" b="1" dirty="0">
                <a:solidFill>
                  <a:srgbClr val="A38F68"/>
                </a:solidFill>
                <a:cs typeface="Segoe UI"/>
              </a:rPr>
              <a:t>DISCLAIMER</a:t>
            </a:r>
          </a:p>
          <a:p>
            <a:pPr>
              <a:spcAft>
                <a:spcPts val="313"/>
              </a:spcAft>
            </a:pPr>
            <a:r>
              <a:rPr lang="en-AU" sz="521" dirty="0">
                <a:solidFill>
                  <a:srgbClr val="000000"/>
                </a:solidFill>
                <a:cs typeface="Segoe UI"/>
              </a:rPr>
              <a:t>This presentation has been prepared by a representative of Offshore Mining and Civil.</a:t>
            </a:r>
          </a:p>
          <a:p>
            <a:pPr>
              <a:spcAft>
                <a:spcPts val="313"/>
              </a:spcAft>
            </a:pPr>
            <a:r>
              <a:rPr lang="en-AU" sz="521" dirty="0">
                <a:solidFill>
                  <a:srgbClr val="000000"/>
                </a:solidFill>
                <a:cs typeface="Segoe UI"/>
              </a:rPr>
              <a:t>The presentation contains the professional and personal opinions of the presenter, which are given in good faith.  As such, opinions presented herein may not always necessarily reflect the position of Offshore Mining and Civil as a whole, its officers or executive.</a:t>
            </a:r>
          </a:p>
          <a:p>
            <a:pPr>
              <a:spcAft>
                <a:spcPts val="313"/>
              </a:spcAft>
            </a:pPr>
            <a:r>
              <a:rPr lang="en-AU" sz="521" dirty="0">
                <a:solidFill>
                  <a:srgbClr val="000000"/>
                </a:solidFill>
                <a:cs typeface="Segoe UI"/>
              </a:rPr>
              <a:t>Any forward-looking statements included in this presentation will involve subjective judgment and analysis and are subject to uncertainties, risks and contingencies—many of which are outside the control of, and may be unknown to, Offshore Mining and Civil.  </a:t>
            </a:r>
          </a:p>
          <a:p>
            <a:pPr>
              <a:spcAft>
                <a:spcPts val="313"/>
              </a:spcAft>
            </a:pPr>
            <a:r>
              <a:rPr lang="en-AU" sz="521" dirty="0">
                <a:solidFill>
                  <a:srgbClr val="000000"/>
                </a:solidFill>
                <a:cs typeface="Segoe UI"/>
              </a:rPr>
              <a:t>Offshore Mining and Civil and all associated entities and representatives make no representation or warranty as to the accuracy, reliability or completeness of information in this document and do not take responsibility for updating any information or correcting any error or omission that may become apparent after this document has been issued.</a:t>
            </a:r>
          </a:p>
          <a:p>
            <a:pPr>
              <a:spcAft>
                <a:spcPts val="313"/>
              </a:spcAft>
            </a:pPr>
            <a:r>
              <a:rPr lang="en-AU" sz="521" dirty="0">
                <a:solidFill>
                  <a:srgbClr val="000000"/>
                </a:solidFill>
                <a:cs typeface="Segoe UI"/>
              </a:rPr>
              <a:t>To the extent permitted by law, Offshore Mining and Civil and its officers, employees, related bodies and agents disclaim all liability—direct, indirect or consequential (and whether or not arising out of the negligence, default or lack of care of Offshore Mining and Civil and/or any of its agents)—for any loss or damage suffered by a recipient or other persons arising out of, or in connection with, any use or reliance on this presentation or information.</a:t>
            </a:r>
          </a:p>
        </p:txBody>
      </p:sp>
    </p:spTree>
    <p:extLst>
      <p:ext uri="{BB962C8B-B14F-4D97-AF65-F5344CB8AC3E}">
        <p14:creationId xmlns:p14="http://schemas.microsoft.com/office/powerpoint/2010/main" val="84871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dvisian 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1257" y="-1"/>
            <a:ext cx="6102678" cy="1139908"/>
          </a:xfrm>
        </p:spPr>
        <p:txBody>
          <a:bodyPr/>
          <a:lstStyle>
            <a:lvl1pPr>
              <a:defRPr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endParaRPr lang="en-AU" dirty="0"/>
          </a:p>
        </p:txBody>
      </p:sp>
      <p:sp>
        <p:nvSpPr>
          <p:cNvPr id="8" name="Picture Placeholder 5"/>
          <p:cNvSpPr>
            <a:spLocks noGrp="1"/>
          </p:cNvSpPr>
          <p:nvPr>
            <p:ph type="pic" sz="quarter" idx="14"/>
          </p:nvPr>
        </p:nvSpPr>
        <p:spPr>
          <a:xfrm>
            <a:off x="-7144" y="1788585"/>
            <a:ext cx="2477217" cy="3610187"/>
          </a:xfrm>
          <a:custGeom>
            <a:avLst/>
            <a:gdLst>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5010231 w 5560752"/>
              <a:gd name="connsiteY17" fmla="*/ 2899066 h 6868800"/>
              <a:gd name="connsiteX18" fmla="*/ 4091146 w 5560752"/>
              <a:gd name="connsiteY18" fmla="*/ 5064754 h 6868800"/>
              <a:gd name="connsiteX19" fmla="*/ 3981817 w 5560752"/>
              <a:gd name="connsiteY19" fmla="*/ 5064753 h 6868800"/>
              <a:gd name="connsiteX20" fmla="*/ 3313099 w 5560752"/>
              <a:gd name="connsiteY20" fmla="*/ 3306692 h 6868800"/>
              <a:gd name="connsiteX21" fmla="*/ 2652829 w 5560752"/>
              <a:gd name="connsiteY21" fmla="*/ 3306692 h 6868800"/>
              <a:gd name="connsiteX22" fmla="*/ 2828495 w 5560752"/>
              <a:gd name="connsiteY22" fmla="*/ 2897733 h 6868800"/>
              <a:gd name="connsiteX23" fmla="*/ 0 w 5560752"/>
              <a:gd name="connsiteY23" fmla="*/ 0 h 6868800"/>
              <a:gd name="connsiteX24" fmla="*/ 5560752 w 5560752"/>
              <a:gd name="connsiteY24" fmla="*/ 0 h 6868800"/>
              <a:gd name="connsiteX25" fmla="*/ 5560752 w 5560752"/>
              <a:gd name="connsiteY25" fmla="*/ 6868800 h 6868800"/>
              <a:gd name="connsiteX26" fmla="*/ 2621885 w 5560752"/>
              <a:gd name="connsiteY26" fmla="*/ 6868800 h 6868800"/>
              <a:gd name="connsiteX27" fmla="*/ 2418035 w 5560752"/>
              <a:gd name="connsiteY27" fmla="*/ 6334754 h 6868800"/>
              <a:gd name="connsiteX28" fmla="*/ 4464207 w 5560752"/>
              <a:gd name="connsiteY28" fmla="*/ 6332960 h 6868800"/>
              <a:gd name="connsiteX29" fmla="*/ 3996958 w 5560752"/>
              <a:gd name="connsiteY29" fmla="*/ 5104559 h 6868800"/>
              <a:gd name="connsiteX30" fmla="*/ 4119221 w 5560752"/>
              <a:gd name="connsiteY30" fmla="*/ 5104563 h 6868800"/>
              <a:gd name="connsiteX31" fmla="*/ 2794373 w 5560752"/>
              <a:gd name="connsiteY31" fmla="*/ 2860946 h 6868800"/>
              <a:gd name="connsiteX32" fmla="*/ 2604149 w 5560752"/>
              <a:gd name="connsiteY32" fmla="*/ 3306692 h 6868800"/>
              <a:gd name="connsiteX33" fmla="*/ 1262196 w 5560752"/>
              <a:gd name="connsiteY33" fmla="*/ 3306692 h 6868800"/>
              <a:gd name="connsiteX34" fmla="*/ 0 w 5560752"/>
              <a:gd name="connsiteY34"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4119221 w 5560752"/>
              <a:gd name="connsiteY29" fmla="*/ 5104563 h 6868800"/>
              <a:gd name="connsiteX30" fmla="*/ 2794373 w 5560752"/>
              <a:gd name="connsiteY30" fmla="*/ 2860946 h 6868800"/>
              <a:gd name="connsiteX31" fmla="*/ 2604149 w 5560752"/>
              <a:gd name="connsiteY31" fmla="*/ 3306692 h 6868800"/>
              <a:gd name="connsiteX32" fmla="*/ 1262196 w 5560752"/>
              <a:gd name="connsiteY32" fmla="*/ 3306692 h 6868800"/>
              <a:gd name="connsiteX33" fmla="*/ 0 w 5560752"/>
              <a:gd name="connsiteY33"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2794373 w 5560752"/>
              <a:gd name="connsiteY29" fmla="*/ 2860946 h 6868800"/>
              <a:gd name="connsiteX30" fmla="*/ 2604149 w 5560752"/>
              <a:gd name="connsiteY30" fmla="*/ 3306692 h 6868800"/>
              <a:gd name="connsiteX31" fmla="*/ 1262196 w 5560752"/>
              <a:gd name="connsiteY31" fmla="*/ 3306692 h 6868800"/>
              <a:gd name="connsiteX32" fmla="*/ 0 w 5560752"/>
              <a:gd name="connsiteY32"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2794373 w 5560752"/>
              <a:gd name="connsiteY28" fmla="*/ 2860946 h 6868800"/>
              <a:gd name="connsiteX29" fmla="*/ 2604149 w 5560752"/>
              <a:gd name="connsiteY29" fmla="*/ 3306692 h 6868800"/>
              <a:gd name="connsiteX30" fmla="*/ 1262196 w 5560752"/>
              <a:gd name="connsiteY30" fmla="*/ 3306692 h 6868800"/>
              <a:gd name="connsiteX31" fmla="*/ 0 w 5560752"/>
              <a:gd name="connsiteY31"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981817 w 5560752"/>
              <a:gd name="connsiteY17" fmla="*/ 5064753 h 6868800"/>
              <a:gd name="connsiteX18" fmla="*/ 3313099 w 5560752"/>
              <a:gd name="connsiteY18" fmla="*/ 3306692 h 6868800"/>
              <a:gd name="connsiteX19" fmla="*/ 2652829 w 5560752"/>
              <a:gd name="connsiteY19" fmla="*/ 3306692 h 6868800"/>
              <a:gd name="connsiteX20" fmla="*/ 2828495 w 5560752"/>
              <a:gd name="connsiteY20" fmla="*/ 2897733 h 6868800"/>
              <a:gd name="connsiteX21" fmla="*/ 0 w 5560752"/>
              <a:gd name="connsiteY21" fmla="*/ 0 h 6868800"/>
              <a:gd name="connsiteX22" fmla="*/ 5560752 w 5560752"/>
              <a:gd name="connsiteY22" fmla="*/ 0 h 6868800"/>
              <a:gd name="connsiteX23" fmla="*/ 5560752 w 5560752"/>
              <a:gd name="connsiteY23" fmla="*/ 6868800 h 6868800"/>
              <a:gd name="connsiteX24" fmla="*/ 2621885 w 5560752"/>
              <a:gd name="connsiteY24" fmla="*/ 6868800 h 6868800"/>
              <a:gd name="connsiteX25" fmla="*/ 2418035 w 5560752"/>
              <a:gd name="connsiteY25" fmla="*/ 6334754 h 6868800"/>
              <a:gd name="connsiteX26" fmla="*/ 4464207 w 5560752"/>
              <a:gd name="connsiteY26" fmla="*/ 6332960 h 6868800"/>
              <a:gd name="connsiteX27" fmla="*/ 2794373 w 5560752"/>
              <a:gd name="connsiteY27" fmla="*/ 2860946 h 6868800"/>
              <a:gd name="connsiteX28" fmla="*/ 2604149 w 5560752"/>
              <a:gd name="connsiteY28" fmla="*/ 3306692 h 6868800"/>
              <a:gd name="connsiteX29" fmla="*/ 1262196 w 5560752"/>
              <a:gd name="connsiteY29" fmla="*/ 3306692 h 6868800"/>
              <a:gd name="connsiteX30" fmla="*/ 0 w 5560752"/>
              <a:gd name="connsiteY30"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313099 w 5560752"/>
              <a:gd name="connsiteY17" fmla="*/ 3306692 h 6868800"/>
              <a:gd name="connsiteX18" fmla="*/ 2652829 w 5560752"/>
              <a:gd name="connsiteY18" fmla="*/ 3306692 h 6868800"/>
              <a:gd name="connsiteX19" fmla="*/ 2828495 w 5560752"/>
              <a:gd name="connsiteY19" fmla="*/ 2897733 h 6868800"/>
              <a:gd name="connsiteX20" fmla="*/ 0 w 5560752"/>
              <a:gd name="connsiteY20" fmla="*/ 0 h 6868800"/>
              <a:gd name="connsiteX21" fmla="*/ 5560752 w 5560752"/>
              <a:gd name="connsiteY21" fmla="*/ 0 h 6868800"/>
              <a:gd name="connsiteX22" fmla="*/ 5560752 w 5560752"/>
              <a:gd name="connsiteY22" fmla="*/ 6868800 h 6868800"/>
              <a:gd name="connsiteX23" fmla="*/ 2621885 w 5560752"/>
              <a:gd name="connsiteY23" fmla="*/ 6868800 h 6868800"/>
              <a:gd name="connsiteX24" fmla="*/ 2418035 w 5560752"/>
              <a:gd name="connsiteY24" fmla="*/ 6334754 h 6868800"/>
              <a:gd name="connsiteX25" fmla="*/ 4464207 w 5560752"/>
              <a:gd name="connsiteY25" fmla="*/ 6332960 h 6868800"/>
              <a:gd name="connsiteX26" fmla="*/ 2794373 w 5560752"/>
              <a:gd name="connsiteY26" fmla="*/ 2860946 h 6868800"/>
              <a:gd name="connsiteX27" fmla="*/ 2604149 w 5560752"/>
              <a:gd name="connsiteY27" fmla="*/ 3306692 h 6868800"/>
              <a:gd name="connsiteX28" fmla="*/ 1262196 w 5560752"/>
              <a:gd name="connsiteY28" fmla="*/ 3306692 h 6868800"/>
              <a:gd name="connsiteX29" fmla="*/ 0 w 5560752"/>
              <a:gd name="connsiteY29"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4464207 w 5560752"/>
              <a:gd name="connsiteY24" fmla="*/ 6332960 h 6868800"/>
              <a:gd name="connsiteX25" fmla="*/ 2794373 w 5560752"/>
              <a:gd name="connsiteY25" fmla="*/ 2860946 h 6868800"/>
              <a:gd name="connsiteX26" fmla="*/ 2604149 w 5560752"/>
              <a:gd name="connsiteY26" fmla="*/ 3306692 h 6868800"/>
              <a:gd name="connsiteX27" fmla="*/ 1262196 w 5560752"/>
              <a:gd name="connsiteY27" fmla="*/ 3306692 h 6868800"/>
              <a:gd name="connsiteX28" fmla="*/ 0 w 5560752"/>
              <a:gd name="connsiteY28"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2794373 w 5560752"/>
              <a:gd name="connsiteY24" fmla="*/ 2860946 h 6868800"/>
              <a:gd name="connsiteX25" fmla="*/ 2604149 w 5560752"/>
              <a:gd name="connsiteY25" fmla="*/ 3306692 h 6868800"/>
              <a:gd name="connsiteX26" fmla="*/ 1262196 w 5560752"/>
              <a:gd name="connsiteY26" fmla="*/ 3306692 h 6868800"/>
              <a:gd name="connsiteX27" fmla="*/ 0 w 5560752"/>
              <a:gd name="connsiteY27"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3653877 w 5560752"/>
              <a:gd name="connsiteY7" fmla="*/ 5064749 h 6868800"/>
              <a:gd name="connsiteX8" fmla="*/ 1934805 w 5560752"/>
              <a:gd name="connsiteY8" fmla="*/ 5064727 h 6868800"/>
              <a:gd name="connsiteX9" fmla="*/ 1917376 w 5560752"/>
              <a:gd name="connsiteY9" fmla="*/ 5018866 h 6868800"/>
              <a:gd name="connsiteX10" fmla="*/ 2523173 w 5560752"/>
              <a:gd name="connsiteY10" fmla="*/ 3608540 h 6868800"/>
              <a:gd name="connsiteX11" fmla="*/ 1381398 w 5560752"/>
              <a:gd name="connsiteY11" fmla="*/ 3608540 h 6868800"/>
              <a:gd name="connsiteX12" fmla="*/ 2475335 w 5560752"/>
              <a:gd name="connsiteY12" fmla="*/ 3608540 h 6868800"/>
              <a:gd name="connsiteX13" fmla="*/ 1896695 w 5560752"/>
              <a:gd name="connsiteY13" fmla="*/ 4964449 h 6868800"/>
              <a:gd name="connsiteX14" fmla="*/ 1381398 w 5560752"/>
              <a:gd name="connsiteY14" fmla="*/ 3608540 h 6868800"/>
              <a:gd name="connsiteX15" fmla="*/ 2828495 w 5560752"/>
              <a:gd name="connsiteY15" fmla="*/ 2897733 h 6868800"/>
              <a:gd name="connsiteX16" fmla="*/ 2652829 w 5560752"/>
              <a:gd name="connsiteY16" fmla="*/ 3306692 h 6868800"/>
              <a:gd name="connsiteX17" fmla="*/ 2828495 w 5560752"/>
              <a:gd name="connsiteY17" fmla="*/ 2897733 h 6868800"/>
              <a:gd name="connsiteX18" fmla="*/ 0 w 5560752"/>
              <a:gd name="connsiteY18" fmla="*/ 0 h 6868800"/>
              <a:gd name="connsiteX19" fmla="*/ 5560752 w 5560752"/>
              <a:gd name="connsiteY19" fmla="*/ 0 h 6868800"/>
              <a:gd name="connsiteX20" fmla="*/ 5560752 w 5560752"/>
              <a:gd name="connsiteY20" fmla="*/ 6868800 h 6868800"/>
              <a:gd name="connsiteX21" fmla="*/ 2621885 w 5560752"/>
              <a:gd name="connsiteY21" fmla="*/ 6868800 h 6868800"/>
              <a:gd name="connsiteX22" fmla="*/ 2418035 w 5560752"/>
              <a:gd name="connsiteY22" fmla="*/ 6334754 h 6868800"/>
              <a:gd name="connsiteX23" fmla="*/ 2794373 w 5560752"/>
              <a:gd name="connsiteY23" fmla="*/ 2860946 h 6868800"/>
              <a:gd name="connsiteX24" fmla="*/ 2604149 w 5560752"/>
              <a:gd name="connsiteY24" fmla="*/ 3306692 h 6868800"/>
              <a:gd name="connsiteX25" fmla="*/ 1262196 w 5560752"/>
              <a:gd name="connsiteY25" fmla="*/ 3306692 h 6868800"/>
              <a:gd name="connsiteX26" fmla="*/ 0 w 5560752"/>
              <a:gd name="connsiteY26"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1934805 w 5560752"/>
              <a:gd name="connsiteY7" fmla="*/ 5064727 h 6868800"/>
              <a:gd name="connsiteX8" fmla="*/ 1917376 w 5560752"/>
              <a:gd name="connsiteY8" fmla="*/ 5018866 h 6868800"/>
              <a:gd name="connsiteX9" fmla="*/ 2523173 w 5560752"/>
              <a:gd name="connsiteY9" fmla="*/ 3608540 h 6868800"/>
              <a:gd name="connsiteX10" fmla="*/ 1381398 w 5560752"/>
              <a:gd name="connsiteY10" fmla="*/ 3608540 h 6868800"/>
              <a:gd name="connsiteX11" fmla="*/ 2475335 w 5560752"/>
              <a:gd name="connsiteY11" fmla="*/ 3608540 h 6868800"/>
              <a:gd name="connsiteX12" fmla="*/ 1896695 w 5560752"/>
              <a:gd name="connsiteY12" fmla="*/ 4964449 h 6868800"/>
              <a:gd name="connsiteX13" fmla="*/ 1381398 w 5560752"/>
              <a:gd name="connsiteY13" fmla="*/ 3608540 h 6868800"/>
              <a:gd name="connsiteX14" fmla="*/ 2828495 w 5560752"/>
              <a:gd name="connsiteY14" fmla="*/ 2897733 h 6868800"/>
              <a:gd name="connsiteX15" fmla="*/ 2652829 w 5560752"/>
              <a:gd name="connsiteY15" fmla="*/ 3306692 h 6868800"/>
              <a:gd name="connsiteX16" fmla="*/ 2828495 w 5560752"/>
              <a:gd name="connsiteY16" fmla="*/ 2897733 h 6868800"/>
              <a:gd name="connsiteX17" fmla="*/ 0 w 5560752"/>
              <a:gd name="connsiteY17" fmla="*/ 0 h 6868800"/>
              <a:gd name="connsiteX18" fmla="*/ 5560752 w 5560752"/>
              <a:gd name="connsiteY18" fmla="*/ 0 h 6868800"/>
              <a:gd name="connsiteX19" fmla="*/ 5560752 w 5560752"/>
              <a:gd name="connsiteY19" fmla="*/ 6868800 h 6868800"/>
              <a:gd name="connsiteX20" fmla="*/ 2621885 w 5560752"/>
              <a:gd name="connsiteY20" fmla="*/ 6868800 h 6868800"/>
              <a:gd name="connsiteX21" fmla="*/ 2418035 w 5560752"/>
              <a:gd name="connsiteY21" fmla="*/ 6334754 h 6868800"/>
              <a:gd name="connsiteX22" fmla="*/ 2794373 w 5560752"/>
              <a:gd name="connsiteY22" fmla="*/ 2860946 h 6868800"/>
              <a:gd name="connsiteX23" fmla="*/ 2604149 w 5560752"/>
              <a:gd name="connsiteY23" fmla="*/ 3306692 h 6868800"/>
              <a:gd name="connsiteX24" fmla="*/ 1262196 w 5560752"/>
              <a:gd name="connsiteY24" fmla="*/ 3306692 h 6868800"/>
              <a:gd name="connsiteX25" fmla="*/ 0 w 5560752"/>
              <a:gd name="connsiteY25"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3100461 w 5560752"/>
              <a:gd name="connsiteY5" fmla="*/ 3608540 h 6868800"/>
              <a:gd name="connsiteX6" fmla="*/ 1934805 w 5560752"/>
              <a:gd name="connsiteY6" fmla="*/ 5064727 h 6868800"/>
              <a:gd name="connsiteX7" fmla="*/ 1917376 w 5560752"/>
              <a:gd name="connsiteY7" fmla="*/ 5018866 h 6868800"/>
              <a:gd name="connsiteX8" fmla="*/ 2523173 w 5560752"/>
              <a:gd name="connsiteY8" fmla="*/ 3608540 h 6868800"/>
              <a:gd name="connsiteX9" fmla="*/ 1381398 w 5560752"/>
              <a:gd name="connsiteY9" fmla="*/ 3608540 h 6868800"/>
              <a:gd name="connsiteX10" fmla="*/ 2475335 w 5560752"/>
              <a:gd name="connsiteY10" fmla="*/ 3608540 h 6868800"/>
              <a:gd name="connsiteX11" fmla="*/ 1896695 w 5560752"/>
              <a:gd name="connsiteY11" fmla="*/ 4964449 h 6868800"/>
              <a:gd name="connsiteX12" fmla="*/ 1381398 w 5560752"/>
              <a:gd name="connsiteY12" fmla="*/ 3608540 h 6868800"/>
              <a:gd name="connsiteX13" fmla="*/ 2828495 w 5560752"/>
              <a:gd name="connsiteY13" fmla="*/ 2897733 h 6868800"/>
              <a:gd name="connsiteX14" fmla="*/ 2652829 w 5560752"/>
              <a:gd name="connsiteY14" fmla="*/ 3306692 h 6868800"/>
              <a:gd name="connsiteX15" fmla="*/ 2828495 w 5560752"/>
              <a:gd name="connsiteY15" fmla="*/ 2897733 h 6868800"/>
              <a:gd name="connsiteX16" fmla="*/ 0 w 5560752"/>
              <a:gd name="connsiteY16" fmla="*/ 0 h 6868800"/>
              <a:gd name="connsiteX17" fmla="*/ 5560752 w 5560752"/>
              <a:gd name="connsiteY17" fmla="*/ 0 h 6868800"/>
              <a:gd name="connsiteX18" fmla="*/ 5560752 w 5560752"/>
              <a:gd name="connsiteY18" fmla="*/ 6868800 h 6868800"/>
              <a:gd name="connsiteX19" fmla="*/ 2621885 w 5560752"/>
              <a:gd name="connsiteY19" fmla="*/ 6868800 h 6868800"/>
              <a:gd name="connsiteX20" fmla="*/ 2418035 w 5560752"/>
              <a:gd name="connsiteY20" fmla="*/ 6334754 h 6868800"/>
              <a:gd name="connsiteX21" fmla="*/ 2794373 w 5560752"/>
              <a:gd name="connsiteY21" fmla="*/ 2860946 h 6868800"/>
              <a:gd name="connsiteX22" fmla="*/ 2604149 w 5560752"/>
              <a:gd name="connsiteY22" fmla="*/ 3306692 h 6868800"/>
              <a:gd name="connsiteX23" fmla="*/ 1262196 w 5560752"/>
              <a:gd name="connsiteY23" fmla="*/ 3306692 h 6868800"/>
              <a:gd name="connsiteX24" fmla="*/ 0 w 5560752"/>
              <a:gd name="connsiteY24"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1934805 w 5560752"/>
              <a:gd name="connsiteY5" fmla="*/ 5064727 h 6868800"/>
              <a:gd name="connsiteX6" fmla="*/ 1917376 w 5560752"/>
              <a:gd name="connsiteY6" fmla="*/ 5018866 h 6868800"/>
              <a:gd name="connsiteX7" fmla="*/ 2523173 w 5560752"/>
              <a:gd name="connsiteY7" fmla="*/ 3608540 h 6868800"/>
              <a:gd name="connsiteX8" fmla="*/ 1381398 w 5560752"/>
              <a:gd name="connsiteY8" fmla="*/ 3608540 h 6868800"/>
              <a:gd name="connsiteX9" fmla="*/ 2475335 w 5560752"/>
              <a:gd name="connsiteY9" fmla="*/ 3608540 h 6868800"/>
              <a:gd name="connsiteX10" fmla="*/ 1896695 w 5560752"/>
              <a:gd name="connsiteY10" fmla="*/ 4964449 h 6868800"/>
              <a:gd name="connsiteX11" fmla="*/ 1381398 w 5560752"/>
              <a:gd name="connsiteY11" fmla="*/ 3608540 h 6868800"/>
              <a:gd name="connsiteX12" fmla="*/ 2828495 w 5560752"/>
              <a:gd name="connsiteY12" fmla="*/ 2897733 h 6868800"/>
              <a:gd name="connsiteX13" fmla="*/ 2652829 w 5560752"/>
              <a:gd name="connsiteY13" fmla="*/ 3306692 h 6868800"/>
              <a:gd name="connsiteX14" fmla="*/ 2828495 w 5560752"/>
              <a:gd name="connsiteY14" fmla="*/ 2897733 h 6868800"/>
              <a:gd name="connsiteX15" fmla="*/ 0 w 5560752"/>
              <a:gd name="connsiteY15" fmla="*/ 0 h 6868800"/>
              <a:gd name="connsiteX16" fmla="*/ 5560752 w 5560752"/>
              <a:gd name="connsiteY16" fmla="*/ 0 h 6868800"/>
              <a:gd name="connsiteX17" fmla="*/ 5560752 w 5560752"/>
              <a:gd name="connsiteY17" fmla="*/ 6868800 h 6868800"/>
              <a:gd name="connsiteX18" fmla="*/ 2621885 w 5560752"/>
              <a:gd name="connsiteY18" fmla="*/ 6868800 h 6868800"/>
              <a:gd name="connsiteX19" fmla="*/ 2418035 w 5560752"/>
              <a:gd name="connsiteY19" fmla="*/ 6334754 h 6868800"/>
              <a:gd name="connsiteX20" fmla="*/ 2794373 w 5560752"/>
              <a:gd name="connsiteY20" fmla="*/ 2860946 h 6868800"/>
              <a:gd name="connsiteX21" fmla="*/ 2604149 w 5560752"/>
              <a:gd name="connsiteY21" fmla="*/ 3306692 h 6868800"/>
              <a:gd name="connsiteX22" fmla="*/ 1262196 w 5560752"/>
              <a:gd name="connsiteY22" fmla="*/ 3306692 h 6868800"/>
              <a:gd name="connsiteX23" fmla="*/ 0 w 5560752"/>
              <a:gd name="connsiteY23"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2828495 w 5560752"/>
              <a:gd name="connsiteY11" fmla="*/ 2897733 h 6868800"/>
              <a:gd name="connsiteX12" fmla="*/ 2652829 w 5560752"/>
              <a:gd name="connsiteY12" fmla="*/ 3306692 h 6868800"/>
              <a:gd name="connsiteX13" fmla="*/ 2828495 w 5560752"/>
              <a:gd name="connsiteY13" fmla="*/ 2897733 h 6868800"/>
              <a:gd name="connsiteX14" fmla="*/ 0 w 5560752"/>
              <a:gd name="connsiteY14" fmla="*/ 0 h 6868800"/>
              <a:gd name="connsiteX15" fmla="*/ 5560752 w 5560752"/>
              <a:gd name="connsiteY15" fmla="*/ 0 h 6868800"/>
              <a:gd name="connsiteX16" fmla="*/ 5560752 w 5560752"/>
              <a:gd name="connsiteY16" fmla="*/ 6868800 h 6868800"/>
              <a:gd name="connsiteX17" fmla="*/ 2621885 w 5560752"/>
              <a:gd name="connsiteY17" fmla="*/ 6868800 h 6868800"/>
              <a:gd name="connsiteX18" fmla="*/ 2418035 w 5560752"/>
              <a:gd name="connsiteY18" fmla="*/ 6334754 h 6868800"/>
              <a:gd name="connsiteX19" fmla="*/ 2794373 w 5560752"/>
              <a:gd name="connsiteY19" fmla="*/ 2860946 h 6868800"/>
              <a:gd name="connsiteX20" fmla="*/ 2604149 w 5560752"/>
              <a:gd name="connsiteY20" fmla="*/ 3306692 h 6868800"/>
              <a:gd name="connsiteX21" fmla="*/ 1262196 w 5560752"/>
              <a:gd name="connsiteY21" fmla="*/ 3306692 h 6868800"/>
              <a:gd name="connsiteX22" fmla="*/ 0 w 5560752"/>
              <a:gd name="connsiteY22"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2461592 w 5560752"/>
              <a:gd name="connsiteY2" fmla="*/ 5073845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1949917 w 5560752"/>
              <a:gd name="connsiteY2" fmla="*/ 5104493 h 6868800"/>
              <a:gd name="connsiteX3" fmla="*/ 1917376 w 5560752"/>
              <a:gd name="connsiteY3" fmla="*/ 5018866 h 6868800"/>
              <a:gd name="connsiteX4" fmla="*/ 1934805 w 5560752"/>
              <a:gd name="connsiteY4" fmla="*/ 5064727 h 6868800"/>
              <a:gd name="connsiteX5" fmla="*/ 1917376 w 5560752"/>
              <a:gd name="connsiteY5" fmla="*/ 5018866 h 6868800"/>
              <a:gd name="connsiteX6" fmla="*/ 1381398 w 5560752"/>
              <a:gd name="connsiteY6" fmla="*/ 3608540 h 6868800"/>
              <a:gd name="connsiteX7" fmla="*/ 2475335 w 5560752"/>
              <a:gd name="connsiteY7" fmla="*/ 3608540 h 6868800"/>
              <a:gd name="connsiteX8" fmla="*/ 1896695 w 5560752"/>
              <a:gd name="connsiteY8" fmla="*/ 4964449 h 6868800"/>
              <a:gd name="connsiteX9" fmla="*/ 1381398 w 5560752"/>
              <a:gd name="connsiteY9" fmla="*/ 3608540 h 6868800"/>
              <a:gd name="connsiteX10" fmla="*/ 0 w 5560752"/>
              <a:gd name="connsiteY10" fmla="*/ 0 h 6868800"/>
              <a:gd name="connsiteX11" fmla="*/ 5560752 w 5560752"/>
              <a:gd name="connsiteY11" fmla="*/ 0 h 6868800"/>
              <a:gd name="connsiteX12" fmla="*/ 5560752 w 5560752"/>
              <a:gd name="connsiteY12" fmla="*/ 6868800 h 6868800"/>
              <a:gd name="connsiteX13" fmla="*/ 2621885 w 5560752"/>
              <a:gd name="connsiteY13" fmla="*/ 6868800 h 6868800"/>
              <a:gd name="connsiteX14" fmla="*/ 2418035 w 5560752"/>
              <a:gd name="connsiteY14" fmla="*/ 6334754 h 6868800"/>
              <a:gd name="connsiteX15" fmla="*/ 2794373 w 5560752"/>
              <a:gd name="connsiteY15" fmla="*/ 2860946 h 6868800"/>
              <a:gd name="connsiteX16" fmla="*/ 2604149 w 5560752"/>
              <a:gd name="connsiteY16" fmla="*/ 3306692 h 6868800"/>
              <a:gd name="connsiteX17" fmla="*/ 1262196 w 5560752"/>
              <a:gd name="connsiteY17" fmla="*/ 3306692 h 6868800"/>
              <a:gd name="connsiteX18" fmla="*/ 0 w 5560752"/>
              <a:gd name="connsiteY18"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896695 w 5560752"/>
              <a:gd name="connsiteY5" fmla="*/ 4964449 h 6868800"/>
              <a:gd name="connsiteX6" fmla="*/ 1381398 w 5560752"/>
              <a:gd name="connsiteY6" fmla="*/ 3608540 h 6868800"/>
              <a:gd name="connsiteX7" fmla="*/ 0 w 5560752"/>
              <a:gd name="connsiteY7" fmla="*/ 0 h 6868800"/>
              <a:gd name="connsiteX8" fmla="*/ 5560752 w 5560752"/>
              <a:gd name="connsiteY8" fmla="*/ 0 h 6868800"/>
              <a:gd name="connsiteX9" fmla="*/ 5560752 w 5560752"/>
              <a:gd name="connsiteY9" fmla="*/ 6868800 h 6868800"/>
              <a:gd name="connsiteX10" fmla="*/ 2621885 w 5560752"/>
              <a:gd name="connsiteY10" fmla="*/ 6868800 h 6868800"/>
              <a:gd name="connsiteX11" fmla="*/ 2418035 w 5560752"/>
              <a:gd name="connsiteY11" fmla="*/ 6334754 h 6868800"/>
              <a:gd name="connsiteX12" fmla="*/ 2794373 w 5560752"/>
              <a:gd name="connsiteY12" fmla="*/ 2860946 h 6868800"/>
              <a:gd name="connsiteX13" fmla="*/ 2604149 w 5560752"/>
              <a:gd name="connsiteY13" fmla="*/ 3306692 h 6868800"/>
              <a:gd name="connsiteX14" fmla="*/ 1262196 w 5560752"/>
              <a:gd name="connsiteY14" fmla="*/ 3306692 h 6868800"/>
              <a:gd name="connsiteX15" fmla="*/ 0 w 5560752"/>
              <a:gd name="connsiteY15"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381398 w 5560752"/>
              <a:gd name="connsiteY5" fmla="*/ 3608540 h 6868800"/>
              <a:gd name="connsiteX6" fmla="*/ 0 w 5560752"/>
              <a:gd name="connsiteY6" fmla="*/ 0 h 6868800"/>
              <a:gd name="connsiteX7" fmla="*/ 5560752 w 5560752"/>
              <a:gd name="connsiteY7" fmla="*/ 0 h 6868800"/>
              <a:gd name="connsiteX8" fmla="*/ 5560752 w 5560752"/>
              <a:gd name="connsiteY8" fmla="*/ 6868800 h 6868800"/>
              <a:gd name="connsiteX9" fmla="*/ 2621885 w 5560752"/>
              <a:gd name="connsiteY9" fmla="*/ 6868800 h 6868800"/>
              <a:gd name="connsiteX10" fmla="*/ 2418035 w 5560752"/>
              <a:gd name="connsiteY10" fmla="*/ 6334754 h 6868800"/>
              <a:gd name="connsiteX11" fmla="*/ 2794373 w 5560752"/>
              <a:gd name="connsiteY11" fmla="*/ 2860946 h 6868800"/>
              <a:gd name="connsiteX12" fmla="*/ 2604149 w 5560752"/>
              <a:gd name="connsiteY12" fmla="*/ 3306692 h 6868800"/>
              <a:gd name="connsiteX13" fmla="*/ 1262196 w 5560752"/>
              <a:gd name="connsiteY13" fmla="*/ 3306692 h 6868800"/>
              <a:gd name="connsiteX14" fmla="*/ 0 w 5560752"/>
              <a:gd name="connsiteY14" fmla="*/ 0 h 6868800"/>
              <a:gd name="connsiteX0" fmla="*/ 1381398 w 5560752"/>
              <a:gd name="connsiteY0" fmla="*/ 3608540 h 6868800"/>
              <a:gd name="connsiteX1" fmla="*/ 2475335 w 5560752"/>
              <a:gd name="connsiteY1" fmla="*/ 3608540 h 6868800"/>
              <a:gd name="connsiteX2" fmla="*/ 1381398 w 5560752"/>
              <a:gd name="connsiteY2" fmla="*/ 3608540 h 6868800"/>
              <a:gd name="connsiteX3" fmla="*/ 0 w 5560752"/>
              <a:gd name="connsiteY3" fmla="*/ 0 h 6868800"/>
              <a:gd name="connsiteX4" fmla="*/ 5560752 w 5560752"/>
              <a:gd name="connsiteY4" fmla="*/ 0 h 6868800"/>
              <a:gd name="connsiteX5" fmla="*/ 5560752 w 5560752"/>
              <a:gd name="connsiteY5" fmla="*/ 6868800 h 6868800"/>
              <a:gd name="connsiteX6" fmla="*/ 2621885 w 5560752"/>
              <a:gd name="connsiteY6" fmla="*/ 6868800 h 6868800"/>
              <a:gd name="connsiteX7" fmla="*/ 2418035 w 5560752"/>
              <a:gd name="connsiteY7" fmla="*/ 6334754 h 6868800"/>
              <a:gd name="connsiteX8" fmla="*/ 2794373 w 5560752"/>
              <a:gd name="connsiteY8" fmla="*/ 2860946 h 6868800"/>
              <a:gd name="connsiteX9" fmla="*/ 2604149 w 5560752"/>
              <a:gd name="connsiteY9" fmla="*/ 3306692 h 6868800"/>
              <a:gd name="connsiteX10" fmla="*/ 1262196 w 5560752"/>
              <a:gd name="connsiteY10" fmla="*/ 3306692 h 6868800"/>
              <a:gd name="connsiteX11" fmla="*/ 0 w 5560752"/>
              <a:gd name="connsiteY11"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794373 w 5560752"/>
              <a:gd name="connsiteY5" fmla="*/ 2860946 h 6868800"/>
              <a:gd name="connsiteX6" fmla="*/ 2604149 w 5560752"/>
              <a:gd name="connsiteY6" fmla="*/ 3306692 h 6868800"/>
              <a:gd name="connsiteX7" fmla="*/ 1262196 w 5560752"/>
              <a:gd name="connsiteY7" fmla="*/ 3306692 h 6868800"/>
              <a:gd name="connsiteX8" fmla="*/ 0 w 5560752"/>
              <a:gd name="connsiteY8"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604149 w 5560752"/>
              <a:gd name="connsiteY5" fmla="*/ 3306692 h 6868800"/>
              <a:gd name="connsiteX6" fmla="*/ 1262196 w 5560752"/>
              <a:gd name="connsiteY6" fmla="*/ 3306692 h 6868800"/>
              <a:gd name="connsiteX7" fmla="*/ 0 w 5560752"/>
              <a:gd name="connsiteY7"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604149 w 5560752"/>
              <a:gd name="connsiteY4" fmla="*/ 3306692 h 6868800"/>
              <a:gd name="connsiteX5" fmla="*/ 1262196 w 5560752"/>
              <a:gd name="connsiteY5" fmla="*/ 3306692 h 6868800"/>
              <a:gd name="connsiteX6" fmla="*/ 0 w 5560752"/>
              <a:gd name="connsiteY6"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1262196 w 5560752"/>
              <a:gd name="connsiteY4" fmla="*/ 3306692 h 6868800"/>
              <a:gd name="connsiteX5" fmla="*/ 0 w 5560752"/>
              <a:gd name="connsiteY5"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0 w 5560752"/>
              <a:gd name="connsiteY4" fmla="*/ 0 h 6868800"/>
              <a:gd name="connsiteX0" fmla="*/ 1254105 w 6814857"/>
              <a:gd name="connsiteY0" fmla="*/ 0 h 6909943"/>
              <a:gd name="connsiteX1" fmla="*/ 6814857 w 6814857"/>
              <a:gd name="connsiteY1" fmla="*/ 0 h 6909943"/>
              <a:gd name="connsiteX2" fmla="*/ 6814857 w 6814857"/>
              <a:gd name="connsiteY2" fmla="*/ 6868800 h 6909943"/>
              <a:gd name="connsiteX3" fmla="*/ 0 w 6814857"/>
              <a:gd name="connsiteY3" fmla="*/ 6909943 h 6909943"/>
              <a:gd name="connsiteX4" fmla="*/ 1254105 w 6814857"/>
              <a:gd name="connsiteY4" fmla="*/ 0 h 6909943"/>
              <a:gd name="connsiteX0" fmla="*/ 1246535 w 6807287"/>
              <a:gd name="connsiteY0" fmla="*/ 0 h 6868800"/>
              <a:gd name="connsiteX1" fmla="*/ 6807287 w 6807287"/>
              <a:gd name="connsiteY1" fmla="*/ 0 h 6868800"/>
              <a:gd name="connsiteX2" fmla="*/ 6807287 w 6807287"/>
              <a:gd name="connsiteY2" fmla="*/ 6868800 h 6868800"/>
              <a:gd name="connsiteX3" fmla="*/ 0 w 6807287"/>
              <a:gd name="connsiteY3" fmla="*/ 6841371 h 6868800"/>
              <a:gd name="connsiteX4" fmla="*/ 1246535 w 6807287"/>
              <a:gd name="connsiteY4" fmla="*/ 0 h 6868800"/>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105735 w 6807287"/>
              <a:gd name="connsiteY0" fmla="*/ 0 h 6851748"/>
              <a:gd name="connsiteX1" fmla="*/ 6807287 w 6807287"/>
              <a:gd name="connsiteY1" fmla="*/ 10377 h 6851748"/>
              <a:gd name="connsiteX2" fmla="*/ 6792146 w 6807287"/>
              <a:gd name="connsiteY2" fmla="*/ 6824319 h 6851748"/>
              <a:gd name="connsiteX3" fmla="*/ 0 w 6807287"/>
              <a:gd name="connsiteY3" fmla="*/ 6851748 h 6851748"/>
              <a:gd name="connsiteX4" fmla="*/ 1105735 w 6807287"/>
              <a:gd name="connsiteY4" fmla="*/ 0 h 6851748"/>
              <a:gd name="connsiteX0" fmla="*/ 1697095 w 7398647"/>
              <a:gd name="connsiteY0" fmla="*/ 0 h 6841372"/>
              <a:gd name="connsiteX1" fmla="*/ 7398647 w 7398647"/>
              <a:gd name="connsiteY1" fmla="*/ 10377 h 6841372"/>
              <a:gd name="connsiteX2" fmla="*/ 7383506 w 7398647"/>
              <a:gd name="connsiteY2" fmla="*/ 6824319 h 6841372"/>
              <a:gd name="connsiteX3" fmla="*/ 0 w 7398647"/>
              <a:gd name="connsiteY3" fmla="*/ 6841372 h 6841372"/>
              <a:gd name="connsiteX4" fmla="*/ 1697095 w 7398647"/>
              <a:gd name="connsiteY4" fmla="*/ 0 h 6841372"/>
              <a:gd name="connsiteX0" fmla="*/ 1676371 w 7377923"/>
              <a:gd name="connsiteY0" fmla="*/ 0 h 6824319"/>
              <a:gd name="connsiteX1" fmla="*/ 7377923 w 7377923"/>
              <a:gd name="connsiteY1" fmla="*/ 10377 h 6824319"/>
              <a:gd name="connsiteX2" fmla="*/ 7362782 w 7377923"/>
              <a:gd name="connsiteY2" fmla="*/ 6824319 h 6824319"/>
              <a:gd name="connsiteX3" fmla="*/ 0 w 7377923"/>
              <a:gd name="connsiteY3" fmla="*/ 6820161 h 6824319"/>
              <a:gd name="connsiteX4" fmla="*/ 1676371 w 7377923"/>
              <a:gd name="connsiteY4" fmla="*/ 0 h 6824319"/>
              <a:gd name="connsiteX0" fmla="*/ 1674069 w 7377923"/>
              <a:gd name="connsiteY0" fmla="*/ 0 h 6828561"/>
              <a:gd name="connsiteX1" fmla="*/ 7377923 w 7377923"/>
              <a:gd name="connsiteY1" fmla="*/ 14619 h 6828561"/>
              <a:gd name="connsiteX2" fmla="*/ 7362782 w 7377923"/>
              <a:gd name="connsiteY2" fmla="*/ 6828561 h 6828561"/>
              <a:gd name="connsiteX3" fmla="*/ 0 w 7377923"/>
              <a:gd name="connsiteY3" fmla="*/ 6824403 h 6828561"/>
              <a:gd name="connsiteX4" fmla="*/ 1674069 w 7377923"/>
              <a:gd name="connsiteY4" fmla="*/ 0 h 6828561"/>
              <a:gd name="connsiteX0" fmla="*/ 1803605 w 7377923"/>
              <a:gd name="connsiteY0" fmla="*/ 265534 h 6813942"/>
              <a:gd name="connsiteX1" fmla="*/ 7377923 w 7377923"/>
              <a:gd name="connsiteY1" fmla="*/ 0 h 6813942"/>
              <a:gd name="connsiteX2" fmla="*/ 7362782 w 7377923"/>
              <a:gd name="connsiteY2" fmla="*/ 6813942 h 6813942"/>
              <a:gd name="connsiteX3" fmla="*/ 0 w 7377923"/>
              <a:gd name="connsiteY3" fmla="*/ 6809784 h 6813942"/>
              <a:gd name="connsiteX4" fmla="*/ 1803605 w 7377923"/>
              <a:gd name="connsiteY4" fmla="*/ 265534 h 6813942"/>
              <a:gd name="connsiteX0" fmla="*/ 1803605 w 7377923"/>
              <a:gd name="connsiteY0" fmla="*/ 0 h 6548408"/>
              <a:gd name="connsiteX1" fmla="*/ 7377923 w 7377923"/>
              <a:gd name="connsiteY1" fmla="*/ 45746 h 6548408"/>
              <a:gd name="connsiteX2" fmla="*/ 7362782 w 7377923"/>
              <a:gd name="connsiteY2" fmla="*/ 6548408 h 6548408"/>
              <a:gd name="connsiteX3" fmla="*/ 0 w 7377923"/>
              <a:gd name="connsiteY3" fmla="*/ 6544250 h 6548408"/>
              <a:gd name="connsiteX4" fmla="*/ 1803605 w 7377923"/>
              <a:gd name="connsiteY4" fmla="*/ 0 h 6548408"/>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58959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89590 w 7163908"/>
              <a:gd name="connsiteY4" fmla="*/ 37263 h 6623017"/>
              <a:gd name="connsiteX0" fmla="*/ 153327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33270 w 7163908"/>
              <a:gd name="connsiteY4" fmla="*/ 37263 h 6623017"/>
              <a:gd name="connsiteX0" fmla="*/ 1555798 w 7186436"/>
              <a:gd name="connsiteY0" fmla="*/ 37263 h 6623017"/>
              <a:gd name="connsiteX1" fmla="*/ 7186436 w 7186436"/>
              <a:gd name="connsiteY1" fmla="*/ 0 h 6623017"/>
              <a:gd name="connsiteX2" fmla="*/ 7171295 w 7186436"/>
              <a:gd name="connsiteY2" fmla="*/ 6585671 h 6623017"/>
              <a:gd name="connsiteX3" fmla="*/ 0 w 7186436"/>
              <a:gd name="connsiteY3" fmla="*/ 6623017 h 6623017"/>
              <a:gd name="connsiteX4" fmla="*/ 1555798 w 7186436"/>
              <a:gd name="connsiteY4" fmla="*/ 37263 h 6623017"/>
              <a:gd name="connsiteX0" fmla="*/ 1555798 w 7205087"/>
              <a:gd name="connsiteY0" fmla="*/ 37263 h 6623017"/>
              <a:gd name="connsiteX1" fmla="*/ 7186436 w 7205087"/>
              <a:gd name="connsiteY1" fmla="*/ 0 h 6623017"/>
              <a:gd name="connsiteX2" fmla="*/ 7205087 w 7205087"/>
              <a:gd name="connsiteY2" fmla="*/ 6575295 h 6623017"/>
              <a:gd name="connsiteX3" fmla="*/ 0 w 7205087"/>
              <a:gd name="connsiteY3" fmla="*/ 6623017 h 6623017"/>
              <a:gd name="connsiteX4" fmla="*/ 1555798 w 7205087"/>
              <a:gd name="connsiteY4" fmla="*/ 37263 h 6623017"/>
              <a:gd name="connsiteX0" fmla="*/ 1522005 w 7171294"/>
              <a:gd name="connsiteY0" fmla="*/ 37263 h 6623017"/>
              <a:gd name="connsiteX1" fmla="*/ 7152643 w 7171294"/>
              <a:gd name="connsiteY1" fmla="*/ 0 h 6623017"/>
              <a:gd name="connsiteX2" fmla="*/ 7171294 w 7171294"/>
              <a:gd name="connsiteY2" fmla="*/ 6575295 h 6623017"/>
              <a:gd name="connsiteX3" fmla="*/ 0 w 7171294"/>
              <a:gd name="connsiteY3" fmla="*/ 6623017 h 6623017"/>
              <a:gd name="connsiteX4" fmla="*/ 1522005 w 7171294"/>
              <a:gd name="connsiteY4" fmla="*/ 37263 h 6623017"/>
              <a:gd name="connsiteX0" fmla="*/ 1522005 w 7171295"/>
              <a:gd name="connsiteY0" fmla="*/ 3726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37263 h 6627177"/>
              <a:gd name="connsiteX0" fmla="*/ 1522005 w 7171295"/>
              <a:gd name="connsiteY0" fmla="*/ 6441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64413 h 6627177"/>
              <a:gd name="connsiteX0" fmla="*/ 1531216 w 7171295"/>
              <a:gd name="connsiteY0" fmla="*/ 13506 h 6627177"/>
              <a:gd name="connsiteX1" fmla="*/ 7152643 w 7171295"/>
              <a:gd name="connsiteY1" fmla="*/ 0 h 6627177"/>
              <a:gd name="connsiteX2" fmla="*/ 7171295 w 7171295"/>
              <a:gd name="connsiteY2" fmla="*/ 6627177 h 6627177"/>
              <a:gd name="connsiteX3" fmla="*/ 0 w 7171295"/>
              <a:gd name="connsiteY3" fmla="*/ 6623017 h 6627177"/>
              <a:gd name="connsiteX4" fmla="*/ 1531216 w 7171295"/>
              <a:gd name="connsiteY4" fmla="*/ 13506 h 6627177"/>
              <a:gd name="connsiteX0" fmla="*/ 1540427 w 7171295"/>
              <a:gd name="connsiteY0" fmla="*/ 0 h 6630640"/>
              <a:gd name="connsiteX1" fmla="*/ 7152643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40427 w 7171295"/>
              <a:gd name="connsiteY0" fmla="*/ 0 h 6630640"/>
              <a:gd name="connsiteX1" fmla="*/ 7148039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54243 w 7185111"/>
              <a:gd name="connsiteY0" fmla="*/ 0 h 6660418"/>
              <a:gd name="connsiteX1" fmla="*/ 7161855 w 7185111"/>
              <a:gd name="connsiteY1" fmla="*/ 3463 h 6660418"/>
              <a:gd name="connsiteX2" fmla="*/ 7185111 w 7185111"/>
              <a:gd name="connsiteY2" fmla="*/ 6630640 h 6660418"/>
              <a:gd name="connsiteX3" fmla="*/ 0 w 7185111"/>
              <a:gd name="connsiteY3" fmla="*/ 6660418 h 6660418"/>
              <a:gd name="connsiteX4" fmla="*/ 1554243 w 7185111"/>
              <a:gd name="connsiteY4" fmla="*/ 0 h 6660418"/>
              <a:gd name="connsiteX0" fmla="*/ 1545032 w 7175900"/>
              <a:gd name="connsiteY0" fmla="*/ 0 h 6660418"/>
              <a:gd name="connsiteX1" fmla="*/ 7152644 w 7175900"/>
              <a:gd name="connsiteY1" fmla="*/ 3463 h 6660418"/>
              <a:gd name="connsiteX2" fmla="*/ 7175900 w 7175900"/>
              <a:gd name="connsiteY2" fmla="*/ 6630640 h 6660418"/>
              <a:gd name="connsiteX3" fmla="*/ 0 w 7175900"/>
              <a:gd name="connsiteY3" fmla="*/ 6660418 h 6660418"/>
              <a:gd name="connsiteX4" fmla="*/ 1545032 w 7175900"/>
              <a:gd name="connsiteY4" fmla="*/ 0 h 6660418"/>
              <a:gd name="connsiteX0" fmla="*/ 1545032 w 7154465"/>
              <a:gd name="connsiteY0" fmla="*/ 0 h 6673062"/>
              <a:gd name="connsiteX1" fmla="*/ 7152644 w 7154465"/>
              <a:gd name="connsiteY1" fmla="*/ 3463 h 6673062"/>
              <a:gd name="connsiteX2" fmla="*/ 7152874 w 7154465"/>
              <a:gd name="connsiteY2" fmla="*/ 6673062 h 6673062"/>
              <a:gd name="connsiteX3" fmla="*/ 0 w 7154465"/>
              <a:gd name="connsiteY3" fmla="*/ 6660418 h 6673062"/>
              <a:gd name="connsiteX4" fmla="*/ 1545032 w 7154465"/>
              <a:gd name="connsiteY4" fmla="*/ 0 h 6673062"/>
              <a:gd name="connsiteX0" fmla="*/ 1545032 w 7153789"/>
              <a:gd name="connsiteY0" fmla="*/ 0 h 6681546"/>
              <a:gd name="connsiteX1" fmla="*/ 7152644 w 7153789"/>
              <a:gd name="connsiteY1" fmla="*/ 3463 h 6681546"/>
              <a:gd name="connsiteX2" fmla="*/ 7143664 w 7153789"/>
              <a:gd name="connsiteY2" fmla="*/ 6681546 h 6681546"/>
              <a:gd name="connsiteX3" fmla="*/ 0 w 7153789"/>
              <a:gd name="connsiteY3" fmla="*/ 6660418 h 6681546"/>
              <a:gd name="connsiteX4" fmla="*/ 1545032 w 7153789"/>
              <a:gd name="connsiteY4" fmla="*/ 0 h 6681546"/>
              <a:gd name="connsiteX0" fmla="*/ 1549638 w 7158395"/>
              <a:gd name="connsiteY0" fmla="*/ 0 h 6681546"/>
              <a:gd name="connsiteX1" fmla="*/ 7157250 w 7158395"/>
              <a:gd name="connsiteY1" fmla="*/ 3463 h 6681546"/>
              <a:gd name="connsiteX2" fmla="*/ 7148270 w 7158395"/>
              <a:gd name="connsiteY2" fmla="*/ 6681546 h 6681546"/>
              <a:gd name="connsiteX3" fmla="*/ 0 w 7158395"/>
              <a:gd name="connsiteY3" fmla="*/ 6668904 h 6681546"/>
              <a:gd name="connsiteX4" fmla="*/ 1549638 w 7158395"/>
              <a:gd name="connsiteY4" fmla="*/ 0 h 6681546"/>
              <a:gd name="connsiteX0" fmla="*/ 1558849 w 7167606"/>
              <a:gd name="connsiteY0" fmla="*/ 0 h 6681546"/>
              <a:gd name="connsiteX1" fmla="*/ 7166461 w 7167606"/>
              <a:gd name="connsiteY1" fmla="*/ 3463 h 6681546"/>
              <a:gd name="connsiteX2" fmla="*/ 7157481 w 7167606"/>
              <a:gd name="connsiteY2" fmla="*/ 6681546 h 6681546"/>
              <a:gd name="connsiteX3" fmla="*/ 0 w 7167606"/>
              <a:gd name="connsiteY3" fmla="*/ 6677390 h 6681546"/>
              <a:gd name="connsiteX4" fmla="*/ 1558849 w 7167606"/>
              <a:gd name="connsiteY4" fmla="*/ 0 h 6681546"/>
              <a:gd name="connsiteX0" fmla="*/ 1558861 w 7167618"/>
              <a:gd name="connsiteY0" fmla="*/ 0 h 6681546"/>
              <a:gd name="connsiteX1" fmla="*/ 7166473 w 7167618"/>
              <a:gd name="connsiteY1" fmla="*/ 3463 h 6681546"/>
              <a:gd name="connsiteX2" fmla="*/ 7157493 w 7167618"/>
              <a:gd name="connsiteY2" fmla="*/ 6681546 h 6681546"/>
              <a:gd name="connsiteX3" fmla="*/ 12 w 7167618"/>
              <a:gd name="connsiteY3" fmla="*/ 6677390 h 6681546"/>
              <a:gd name="connsiteX4" fmla="*/ 1558861 w 7167618"/>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8861 w 7167212"/>
              <a:gd name="connsiteY4" fmla="*/ 5 h 6681551"/>
              <a:gd name="connsiteX0" fmla="*/ 1554256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4256 w 7167212"/>
              <a:gd name="connsiteY4" fmla="*/ 5 h 6681551"/>
              <a:gd name="connsiteX0" fmla="*/ 1549650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49650 w 7167212"/>
              <a:gd name="connsiteY4" fmla="*/ 5 h 6681551"/>
              <a:gd name="connsiteX0" fmla="*/ 1391955 w 7167212"/>
              <a:gd name="connsiteY0" fmla="*/ 7014 h 6678184"/>
              <a:gd name="connsiteX1" fmla="*/ 7166473 w 7167212"/>
              <a:gd name="connsiteY1" fmla="*/ 101 h 6678184"/>
              <a:gd name="connsiteX2" fmla="*/ 7143678 w 7167212"/>
              <a:gd name="connsiteY2" fmla="*/ 6678184 h 6678184"/>
              <a:gd name="connsiteX3" fmla="*/ 12 w 7167212"/>
              <a:gd name="connsiteY3" fmla="*/ 6674028 h 6678184"/>
              <a:gd name="connsiteX4" fmla="*/ 1391955 w 7167212"/>
              <a:gd name="connsiteY4" fmla="*/ 7014 h 6678184"/>
              <a:gd name="connsiteX0" fmla="*/ 1437012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37012 w 7212269"/>
              <a:gd name="connsiteY4" fmla="*/ 7014 h 6678184"/>
              <a:gd name="connsiteX0" fmla="*/ 1458504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58504 w 7212269"/>
              <a:gd name="connsiteY4" fmla="*/ 7014 h 6678184"/>
              <a:gd name="connsiteX0" fmla="*/ 1446224 w 7199989"/>
              <a:gd name="connsiteY0" fmla="*/ 7014 h 6678184"/>
              <a:gd name="connsiteX1" fmla="*/ 7199250 w 7199989"/>
              <a:gd name="connsiteY1" fmla="*/ 101 h 6678184"/>
              <a:gd name="connsiteX2" fmla="*/ 7176455 w 7199989"/>
              <a:gd name="connsiteY2" fmla="*/ 6678184 h 6678184"/>
              <a:gd name="connsiteX3" fmla="*/ 13 w 7199989"/>
              <a:gd name="connsiteY3" fmla="*/ 6674028 h 6678184"/>
              <a:gd name="connsiteX4" fmla="*/ 1446224 w 7199989"/>
              <a:gd name="connsiteY4" fmla="*/ 7014 h 6678184"/>
              <a:gd name="connsiteX0" fmla="*/ 1446247 w 7200012"/>
              <a:gd name="connsiteY0" fmla="*/ 7014 h 6678184"/>
              <a:gd name="connsiteX1" fmla="*/ 7199273 w 7200012"/>
              <a:gd name="connsiteY1" fmla="*/ 101 h 6678184"/>
              <a:gd name="connsiteX2" fmla="*/ 7176478 w 7200012"/>
              <a:gd name="connsiteY2" fmla="*/ 6678184 h 6678184"/>
              <a:gd name="connsiteX3" fmla="*/ 36 w 7200012"/>
              <a:gd name="connsiteY3" fmla="*/ 6674028 h 6678184"/>
              <a:gd name="connsiteX4" fmla="*/ 1446247 w 7200012"/>
              <a:gd name="connsiteY4" fmla="*/ 7014 h 6678184"/>
              <a:gd name="connsiteX0" fmla="*/ 1496934 w 7250699"/>
              <a:gd name="connsiteY0" fmla="*/ 7014 h 6678184"/>
              <a:gd name="connsiteX1" fmla="*/ 7249960 w 7250699"/>
              <a:gd name="connsiteY1" fmla="*/ 101 h 6678184"/>
              <a:gd name="connsiteX2" fmla="*/ 7227165 w 7250699"/>
              <a:gd name="connsiteY2" fmla="*/ 6678184 h 6678184"/>
              <a:gd name="connsiteX3" fmla="*/ 35 w 7250699"/>
              <a:gd name="connsiteY3" fmla="*/ 6674028 h 6678184"/>
              <a:gd name="connsiteX4" fmla="*/ 1496934 w 7250699"/>
              <a:gd name="connsiteY4" fmla="*/ 7014 h 6678184"/>
              <a:gd name="connsiteX0" fmla="*/ 1480039 w 7250699"/>
              <a:gd name="connsiteY0" fmla="*/ 3 h 6681549"/>
              <a:gd name="connsiteX1" fmla="*/ 7249960 w 7250699"/>
              <a:gd name="connsiteY1" fmla="*/ 3466 h 6681549"/>
              <a:gd name="connsiteX2" fmla="*/ 7227165 w 7250699"/>
              <a:gd name="connsiteY2" fmla="*/ 6681549 h 6681549"/>
              <a:gd name="connsiteX3" fmla="*/ 35 w 7250699"/>
              <a:gd name="connsiteY3" fmla="*/ 6677393 h 6681549"/>
              <a:gd name="connsiteX4" fmla="*/ 1480039 w 7250699"/>
              <a:gd name="connsiteY4" fmla="*/ 3 h 6681549"/>
              <a:gd name="connsiteX0" fmla="*/ 1451881 w 7222541"/>
              <a:gd name="connsiteY0" fmla="*/ 3 h 6681549"/>
              <a:gd name="connsiteX1" fmla="*/ 7221802 w 7222541"/>
              <a:gd name="connsiteY1" fmla="*/ 3466 h 6681549"/>
              <a:gd name="connsiteX2" fmla="*/ 7199007 w 7222541"/>
              <a:gd name="connsiteY2" fmla="*/ 6681549 h 6681549"/>
              <a:gd name="connsiteX3" fmla="*/ 37 w 7222541"/>
              <a:gd name="connsiteY3" fmla="*/ 6667015 h 6681549"/>
              <a:gd name="connsiteX4" fmla="*/ 1451881 w 7222541"/>
              <a:gd name="connsiteY4" fmla="*/ 3 h 6681549"/>
              <a:gd name="connsiteX0" fmla="*/ 23061 w 5793721"/>
              <a:gd name="connsiteY0" fmla="*/ 3 h 6684096"/>
              <a:gd name="connsiteX1" fmla="*/ 5792982 w 5793721"/>
              <a:gd name="connsiteY1" fmla="*/ 3466 h 6684096"/>
              <a:gd name="connsiteX2" fmla="*/ 5770187 w 5793721"/>
              <a:gd name="connsiteY2" fmla="*/ 6681549 h 6684096"/>
              <a:gd name="connsiteX3" fmla="*/ 1308 w 5793721"/>
              <a:gd name="connsiteY3" fmla="*/ 6681418 h 6684096"/>
              <a:gd name="connsiteX4" fmla="*/ 23061 w 5793721"/>
              <a:gd name="connsiteY4" fmla="*/ 3 h 6684096"/>
              <a:gd name="connsiteX0" fmla="*/ 23061 w 5792997"/>
              <a:gd name="connsiteY0" fmla="*/ 3 h 6695951"/>
              <a:gd name="connsiteX1" fmla="*/ 5792982 w 5792997"/>
              <a:gd name="connsiteY1" fmla="*/ 3466 h 6695951"/>
              <a:gd name="connsiteX2" fmla="*/ 3768058 w 5792997"/>
              <a:gd name="connsiteY2" fmla="*/ 6695951 h 6695951"/>
              <a:gd name="connsiteX3" fmla="*/ 1308 w 5792997"/>
              <a:gd name="connsiteY3" fmla="*/ 6681418 h 6695951"/>
              <a:gd name="connsiteX4" fmla="*/ 23061 w 5792997"/>
              <a:gd name="connsiteY4" fmla="*/ 3 h 6695951"/>
              <a:gd name="connsiteX0" fmla="*/ 23061 w 5792981"/>
              <a:gd name="connsiteY0" fmla="*/ 3 h 6695951"/>
              <a:gd name="connsiteX1" fmla="*/ 5792982 w 5792981"/>
              <a:gd name="connsiteY1" fmla="*/ 3466 h 6695951"/>
              <a:gd name="connsiteX2" fmla="*/ 3768058 w 5792981"/>
              <a:gd name="connsiteY2" fmla="*/ 6695951 h 6695951"/>
              <a:gd name="connsiteX3" fmla="*/ 1308 w 5792981"/>
              <a:gd name="connsiteY3" fmla="*/ 6681418 h 6695951"/>
              <a:gd name="connsiteX4" fmla="*/ 23061 w 5792981"/>
              <a:gd name="connsiteY4" fmla="*/ 3 h 6695951"/>
              <a:gd name="connsiteX0" fmla="*/ 23061 w 5792983"/>
              <a:gd name="connsiteY0" fmla="*/ 3 h 6695951"/>
              <a:gd name="connsiteX1" fmla="*/ 5792982 w 5792983"/>
              <a:gd name="connsiteY1" fmla="*/ 3466 h 6695951"/>
              <a:gd name="connsiteX2" fmla="*/ 3716984 w 5792983"/>
              <a:gd name="connsiteY2" fmla="*/ 6695951 h 6695951"/>
              <a:gd name="connsiteX3" fmla="*/ 1308 w 5792983"/>
              <a:gd name="connsiteY3" fmla="*/ 6681418 h 6695951"/>
              <a:gd name="connsiteX4" fmla="*/ 23061 w 5792983"/>
              <a:gd name="connsiteY4" fmla="*/ 3 h 6695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2983" h="6695951">
                <a:moveTo>
                  <a:pt x="23061" y="3"/>
                </a:moveTo>
                <a:cubicBezTo>
                  <a:pt x="17893" y="1157"/>
                  <a:pt x="3923778" y="2312"/>
                  <a:pt x="5792982" y="3466"/>
                </a:cubicBezTo>
                <a:lnTo>
                  <a:pt x="3716984" y="6695951"/>
                </a:lnTo>
                <a:cubicBezTo>
                  <a:pt x="3716453" y="6691380"/>
                  <a:pt x="-9679" y="6689244"/>
                  <a:pt x="1308" y="6681418"/>
                </a:cubicBezTo>
                <a:cubicBezTo>
                  <a:pt x="-7155" y="6701196"/>
                  <a:pt x="28454" y="-5634"/>
                  <a:pt x="23061" y="3"/>
                </a:cubicBezTo>
                <a:close/>
              </a:path>
            </a:pathLst>
          </a:custGeom>
        </p:spPr>
        <p:txBody>
          <a:bodyPr tIns="1188000" anchor="t" anchorCtr="0">
            <a:normAutofit/>
          </a:bodyPr>
          <a:lstStyle>
            <a:lvl1pPr marL="0" indent="0" algn="ctr">
              <a:buNone/>
              <a:defRPr sz="1200">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0" name="Text Placeholder 9"/>
          <p:cNvSpPr>
            <a:spLocks noGrp="1"/>
          </p:cNvSpPr>
          <p:nvPr>
            <p:ph type="body" sz="quarter" idx="15"/>
          </p:nvPr>
        </p:nvSpPr>
        <p:spPr>
          <a:xfrm>
            <a:off x="2726923" y="1791597"/>
            <a:ext cx="3888432" cy="6716843"/>
          </a:xfrm>
        </p:spPr>
        <p:txBody>
          <a:bodyPr>
            <a:normAutofit/>
          </a:bodyPr>
          <a:lstStyle>
            <a:lvl1pPr marL="0" indent="0">
              <a:buNone/>
              <a:defRPr sz="1500">
                <a:latin typeface="Segoe UI" panose="020B0502040204020203" pitchFamily="34" charset="0"/>
                <a:ea typeface="Segoe UI" panose="020B0502040204020203" pitchFamily="34" charset="0"/>
                <a:cs typeface="Segoe UI" panose="020B0502040204020203" pitchFamily="34" charset="0"/>
              </a:defRPr>
            </a:lvl1pPr>
            <a:lvl2pPr marL="270259" indent="-270259">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2pPr>
            <a:lvl3pPr marL="536945" indent="-266687">
              <a:buClr>
                <a:schemeClr val="accent1"/>
              </a:buClr>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3pPr>
            <a:lvl4pPr marL="808394" indent="-271450">
              <a:buClr>
                <a:schemeClr val="accent1"/>
              </a:buClr>
              <a:buSzPct val="90000"/>
              <a:buFont typeface="Arial" panose="020B0604020202020204" pitchFamily="34" charset="0"/>
              <a:buChar char="•"/>
              <a:defRPr sz="1500">
                <a:latin typeface="Segoe UI" panose="020B0502040204020203" pitchFamily="34" charset="0"/>
                <a:ea typeface="Segoe UI" panose="020B0502040204020203" pitchFamily="34" charset="0"/>
                <a:cs typeface="Segoe UI" panose="020B0502040204020203" pitchFamily="34" charset="0"/>
              </a:defRPr>
            </a:lvl4pPr>
            <a:lvl5pPr marL="1078652" indent="-270259">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p:cNvSpPr>
            <a:spLocks noGrp="1"/>
          </p:cNvSpPr>
          <p:nvPr>
            <p:ph type="sldNum" sz="quarter" idx="16"/>
          </p:nvPr>
        </p:nvSpPr>
        <p:spPr/>
        <p:txBody>
          <a:bodyPr/>
          <a:lstStyle>
            <a:lvl1pPr>
              <a:defRPr>
                <a:solidFill>
                  <a:schemeClr val="bg1">
                    <a:lumMod val="50000"/>
                  </a:schemeClr>
                </a:solidFill>
              </a:defRPr>
            </a:lvl1pPr>
          </a:lstStyle>
          <a:p>
            <a:r>
              <a:rPr lang="en-AU" dirty="0"/>
              <a:t> Offshore Mining and Civil  / </a:t>
            </a:r>
            <a:fld id="{CFD780AD-5876-4BCA-80DC-E96648A7269F}" type="slidenum">
              <a:rPr lang="en-AU" smtClean="0"/>
              <a:pPr/>
              <a:t>‹#›</a:t>
            </a:fld>
            <a:endParaRPr lang="en-AU" dirty="0"/>
          </a:p>
        </p:txBody>
      </p:sp>
    </p:spTree>
    <p:extLst>
      <p:ext uri="{BB962C8B-B14F-4D97-AF65-F5344CB8AC3E}">
        <p14:creationId xmlns:p14="http://schemas.microsoft.com/office/powerpoint/2010/main" val="832422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dvisian Title no content">
    <p:spTree>
      <p:nvGrpSpPr>
        <p:cNvPr id="1" name=""/>
        <p:cNvGrpSpPr/>
        <p:nvPr/>
      </p:nvGrpSpPr>
      <p:grpSpPr>
        <a:xfrm>
          <a:off x="0" y="0"/>
          <a:ext cx="0" cy="0"/>
          <a:chOff x="0" y="0"/>
          <a:chExt cx="0" cy="0"/>
        </a:xfrm>
      </p:grpSpPr>
      <p:sp>
        <p:nvSpPr>
          <p:cNvPr id="2" name="Title 1"/>
          <p:cNvSpPr>
            <a:spLocks noGrp="1"/>
          </p:cNvSpPr>
          <p:nvPr>
            <p:ph type="title"/>
          </p:nvPr>
        </p:nvSpPr>
        <p:spPr>
          <a:xfrm>
            <a:off x="591258" y="63509"/>
            <a:ext cx="6102678" cy="1076408"/>
          </a:xfrm>
        </p:spPr>
        <p:txBody>
          <a:bodyPr>
            <a:normAutofit/>
          </a:bodyPr>
          <a:lstStyle>
            <a:lvl1pPr>
              <a:defRPr sz="1500"/>
            </a:lvl1pPr>
          </a:lstStyle>
          <a:p>
            <a:r>
              <a:rPr lang="en-US" dirty="0"/>
              <a:t>Click to edit Master title style</a:t>
            </a:r>
            <a:endParaRPr lang="en-AU" dirty="0"/>
          </a:p>
        </p:txBody>
      </p:sp>
      <p:sp>
        <p:nvSpPr>
          <p:cNvPr id="3" name="Slide Number Placeholder 2"/>
          <p:cNvSpPr>
            <a:spLocks noGrp="1"/>
          </p:cNvSpPr>
          <p:nvPr>
            <p:ph type="sldNum" sz="quarter" idx="10"/>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246979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dvisian title and tex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sz="1500" b="0">
                <a:solidFill>
                  <a:srgbClr val="162934"/>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313"/>
              </a:spcAft>
              <a:buNone/>
              <a:defRPr sz="1042">
                <a:latin typeface="Segoe UI" panose="020B0502040204020203" pitchFamily="34" charset="0"/>
                <a:ea typeface="Segoe UI" panose="020B0502040204020203" pitchFamily="34" charset="0"/>
                <a:cs typeface="Segoe UI" panose="020B0502040204020203" pitchFamily="34" charset="0"/>
              </a:defRPr>
            </a:lvl1pPr>
            <a:lvl2pPr marL="186838" indent="-186838" rtl="0">
              <a:spcAft>
                <a:spcPts val="313"/>
              </a:spcAft>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6012" rtl="0">
              <a:spcAft>
                <a:spcPts val="313"/>
              </a:spcAft>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51420" indent="-178571" rtl="0">
              <a:spcAft>
                <a:spcPts val="313"/>
              </a:spcAft>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5697" indent="-186012">
              <a:spcAft>
                <a:spcPts val="1250"/>
              </a:spcAft>
              <a:buFont typeface="Arial" panose="020B0604020202020204" pitchFamily="34" charset="0"/>
              <a:buChar char="•"/>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p:txBody>
          <a:bodyPr/>
          <a:lstStyle>
            <a:lvl1pPr rtl="0">
              <a:defRPr>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6" name="Freeform 5"/>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1628624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Advisian title and text">
    <p:bg>
      <p:bgPr>
        <a:solidFill>
          <a:schemeClr val="tx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313"/>
              </a:spcAft>
              <a:buNone/>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6838" indent="-186838" rtl="0">
              <a:spcAft>
                <a:spcPts val="313"/>
              </a:spcAft>
              <a:buClr>
                <a:schemeClr val="bg1"/>
              </a:buClr>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marL="372849" indent="-186012" rtl="0">
              <a:spcAft>
                <a:spcPts val="313"/>
              </a:spcAft>
              <a:buClr>
                <a:schemeClr val="bg1"/>
              </a:buClr>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marL="551420" indent="-178571" rtl="0">
              <a:spcAft>
                <a:spcPts val="313"/>
              </a:spcAft>
              <a:buClr>
                <a:schemeClr val="bg1"/>
              </a:buClr>
              <a:buSzPct val="90000"/>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marL="745697" indent="-186012">
              <a:spcAft>
                <a:spcPts val="1250"/>
              </a:spcAft>
              <a:buFont typeface="Arial" panose="020B0604020202020204" pitchFamily="34" charset="0"/>
              <a:buChar char="•"/>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solidFill>
              </a:rPr>
              <a:t> Offshore Mining and Civil  / </a:t>
            </a:r>
            <a:fld id="{CFD780AD-5876-4BCA-80DC-E96648A7269F}" type="slidenum">
              <a:rPr lang="en-AU" smtClean="0">
                <a:solidFill>
                  <a:srgbClr val="FFFFFF"/>
                </a:solidFill>
              </a:rPr>
              <a:pPr/>
              <a:t>‹#›</a:t>
            </a:fld>
            <a:endParaRPr lang="en-AU" dirty="0">
              <a:solidFill>
                <a:srgbClr val="FFFFFF"/>
              </a:solidFill>
            </a:endParaRPr>
          </a:p>
        </p:txBody>
      </p:sp>
      <p:sp>
        <p:nvSpPr>
          <p:cNvPr id="6" name="Freeform 5"/>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136907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sz="1500" b="0">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6" y="1787172"/>
            <a:ext cx="2883084" cy="6570927"/>
          </a:xfrm>
        </p:spPr>
        <p:txBody>
          <a:bodyPr>
            <a:normAutofit/>
          </a:bodyPr>
          <a:lstStyle>
            <a:lvl1pPr marL="0" indent="0" rtl="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rtl="0">
              <a:buClr>
                <a:schemeClr val="accent1"/>
              </a:buClr>
              <a:buSzPct val="90000"/>
              <a:buFont typeface="Arial" panose="020B0604020202020204" pitchFamily="34" charset="0"/>
              <a:buChar char="•"/>
              <a:tabLst/>
              <a:defRPr sz="1042">
                <a:latin typeface="Segoe UI" panose="020B0502040204020203" pitchFamily="34" charset="0"/>
                <a:ea typeface="Segoe UI" panose="020B0502040204020203" pitchFamily="34" charset="0"/>
                <a:cs typeface="Segoe UI" panose="020B0502040204020203" pitchFamily="34" charset="0"/>
              </a:defRPr>
            </a:lvl4pPr>
            <a:lvl5pPr marL="746524" indent="-185184">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quarter" idx="11"/>
          </p:nvPr>
        </p:nvSpPr>
        <p:spPr>
          <a:xfrm>
            <a:off x="3740364" y="1787172"/>
            <a:ext cx="2883084" cy="6570927"/>
          </a:xfrm>
        </p:spPr>
        <p:txBody>
          <a:bodyPr>
            <a:normAutofit/>
          </a:bodyPr>
          <a:lstStyle>
            <a:lvl1pPr marL="0" indent="0" rtl="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rtl="0">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9005" indent="-187665">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8" name="Freeform 7"/>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9"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294627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dvisian 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1258" y="-1"/>
            <a:ext cx="6102678" cy="1139909"/>
          </a:xfrm>
        </p:spPr>
        <p:txBody>
          <a:bodyPr>
            <a:normAutofit/>
          </a:bodyPr>
          <a:lstStyle>
            <a:lvl1pPr>
              <a:defRPr sz="1500" b="0">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8" name="Picture Placeholder 5"/>
          <p:cNvSpPr>
            <a:spLocks noGrp="1"/>
          </p:cNvSpPr>
          <p:nvPr>
            <p:ph type="pic" sz="quarter" idx="14"/>
          </p:nvPr>
        </p:nvSpPr>
        <p:spPr>
          <a:xfrm>
            <a:off x="-7142" y="1788589"/>
            <a:ext cx="2477217" cy="3610187"/>
          </a:xfrm>
          <a:custGeom>
            <a:avLst/>
            <a:gdLst>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5010231 w 5560752"/>
              <a:gd name="connsiteY17" fmla="*/ 2899066 h 6868800"/>
              <a:gd name="connsiteX18" fmla="*/ 4091146 w 5560752"/>
              <a:gd name="connsiteY18" fmla="*/ 5064754 h 6868800"/>
              <a:gd name="connsiteX19" fmla="*/ 3981817 w 5560752"/>
              <a:gd name="connsiteY19" fmla="*/ 5064753 h 6868800"/>
              <a:gd name="connsiteX20" fmla="*/ 3313099 w 5560752"/>
              <a:gd name="connsiteY20" fmla="*/ 3306692 h 6868800"/>
              <a:gd name="connsiteX21" fmla="*/ 2652829 w 5560752"/>
              <a:gd name="connsiteY21" fmla="*/ 3306692 h 6868800"/>
              <a:gd name="connsiteX22" fmla="*/ 2828495 w 5560752"/>
              <a:gd name="connsiteY22" fmla="*/ 2897733 h 6868800"/>
              <a:gd name="connsiteX23" fmla="*/ 0 w 5560752"/>
              <a:gd name="connsiteY23" fmla="*/ 0 h 6868800"/>
              <a:gd name="connsiteX24" fmla="*/ 5560752 w 5560752"/>
              <a:gd name="connsiteY24" fmla="*/ 0 h 6868800"/>
              <a:gd name="connsiteX25" fmla="*/ 5560752 w 5560752"/>
              <a:gd name="connsiteY25" fmla="*/ 6868800 h 6868800"/>
              <a:gd name="connsiteX26" fmla="*/ 2621885 w 5560752"/>
              <a:gd name="connsiteY26" fmla="*/ 6868800 h 6868800"/>
              <a:gd name="connsiteX27" fmla="*/ 2418035 w 5560752"/>
              <a:gd name="connsiteY27" fmla="*/ 6334754 h 6868800"/>
              <a:gd name="connsiteX28" fmla="*/ 4464207 w 5560752"/>
              <a:gd name="connsiteY28" fmla="*/ 6332960 h 6868800"/>
              <a:gd name="connsiteX29" fmla="*/ 3996958 w 5560752"/>
              <a:gd name="connsiteY29" fmla="*/ 5104559 h 6868800"/>
              <a:gd name="connsiteX30" fmla="*/ 4119221 w 5560752"/>
              <a:gd name="connsiteY30" fmla="*/ 5104563 h 6868800"/>
              <a:gd name="connsiteX31" fmla="*/ 2794373 w 5560752"/>
              <a:gd name="connsiteY31" fmla="*/ 2860946 h 6868800"/>
              <a:gd name="connsiteX32" fmla="*/ 2604149 w 5560752"/>
              <a:gd name="connsiteY32" fmla="*/ 3306692 h 6868800"/>
              <a:gd name="connsiteX33" fmla="*/ 1262196 w 5560752"/>
              <a:gd name="connsiteY33" fmla="*/ 3306692 h 6868800"/>
              <a:gd name="connsiteX34" fmla="*/ 0 w 5560752"/>
              <a:gd name="connsiteY34"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4119221 w 5560752"/>
              <a:gd name="connsiteY29" fmla="*/ 5104563 h 6868800"/>
              <a:gd name="connsiteX30" fmla="*/ 2794373 w 5560752"/>
              <a:gd name="connsiteY30" fmla="*/ 2860946 h 6868800"/>
              <a:gd name="connsiteX31" fmla="*/ 2604149 w 5560752"/>
              <a:gd name="connsiteY31" fmla="*/ 3306692 h 6868800"/>
              <a:gd name="connsiteX32" fmla="*/ 1262196 w 5560752"/>
              <a:gd name="connsiteY32" fmla="*/ 3306692 h 6868800"/>
              <a:gd name="connsiteX33" fmla="*/ 0 w 5560752"/>
              <a:gd name="connsiteY33"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2794373 w 5560752"/>
              <a:gd name="connsiteY29" fmla="*/ 2860946 h 6868800"/>
              <a:gd name="connsiteX30" fmla="*/ 2604149 w 5560752"/>
              <a:gd name="connsiteY30" fmla="*/ 3306692 h 6868800"/>
              <a:gd name="connsiteX31" fmla="*/ 1262196 w 5560752"/>
              <a:gd name="connsiteY31" fmla="*/ 3306692 h 6868800"/>
              <a:gd name="connsiteX32" fmla="*/ 0 w 5560752"/>
              <a:gd name="connsiteY32"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2794373 w 5560752"/>
              <a:gd name="connsiteY28" fmla="*/ 2860946 h 6868800"/>
              <a:gd name="connsiteX29" fmla="*/ 2604149 w 5560752"/>
              <a:gd name="connsiteY29" fmla="*/ 3306692 h 6868800"/>
              <a:gd name="connsiteX30" fmla="*/ 1262196 w 5560752"/>
              <a:gd name="connsiteY30" fmla="*/ 3306692 h 6868800"/>
              <a:gd name="connsiteX31" fmla="*/ 0 w 5560752"/>
              <a:gd name="connsiteY31"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981817 w 5560752"/>
              <a:gd name="connsiteY17" fmla="*/ 5064753 h 6868800"/>
              <a:gd name="connsiteX18" fmla="*/ 3313099 w 5560752"/>
              <a:gd name="connsiteY18" fmla="*/ 3306692 h 6868800"/>
              <a:gd name="connsiteX19" fmla="*/ 2652829 w 5560752"/>
              <a:gd name="connsiteY19" fmla="*/ 3306692 h 6868800"/>
              <a:gd name="connsiteX20" fmla="*/ 2828495 w 5560752"/>
              <a:gd name="connsiteY20" fmla="*/ 2897733 h 6868800"/>
              <a:gd name="connsiteX21" fmla="*/ 0 w 5560752"/>
              <a:gd name="connsiteY21" fmla="*/ 0 h 6868800"/>
              <a:gd name="connsiteX22" fmla="*/ 5560752 w 5560752"/>
              <a:gd name="connsiteY22" fmla="*/ 0 h 6868800"/>
              <a:gd name="connsiteX23" fmla="*/ 5560752 w 5560752"/>
              <a:gd name="connsiteY23" fmla="*/ 6868800 h 6868800"/>
              <a:gd name="connsiteX24" fmla="*/ 2621885 w 5560752"/>
              <a:gd name="connsiteY24" fmla="*/ 6868800 h 6868800"/>
              <a:gd name="connsiteX25" fmla="*/ 2418035 w 5560752"/>
              <a:gd name="connsiteY25" fmla="*/ 6334754 h 6868800"/>
              <a:gd name="connsiteX26" fmla="*/ 4464207 w 5560752"/>
              <a:gd name="connsiteY26" fmla="*/ 6332960 h 6868800"/>
              <a:gd name="connsiteX27" fmla="*/ 2794373 w 5560752"/>
              <a:gd name="connsiteY27" fmla="*/ 2860946 h 6868800"/>
              <a:gd name="connsiteX28" fmla="*/ 2604149 w 5560752"/>
              <a:gd name="connsiteY28" fmla="*/ 3306692 h 6868800"/>
              <a:gd name="connsiteX29" fmla="*/ 1262196 w 5560752"/>
              <a:gd name="connsiteY29" fmla="*/ 3306692 h 6868800"/>
              <a:gd name="connsiteX30" fmla="*/ 0 w 5560752"/>
              <a:gd name="connsiteY30"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313099 w 5560752"/>
              <a:gd name="connsiteY17" fmla="*/ 3306692 h 6868800"/>
              <a:gd name="connsiteX18" fmla="*/ 2652829 w 5560752"/>
              <a:gd name="connsiteY18" fmla="*/ 3306692 h 6868800"/>
              <a:gd name="connsiteX19" fmla="*/ 2828495 w 5560752"/>
              <a:gd name="connsiteY19" fmla="*/ 2897733 h 6868800"/>
              <a:gd name="connsiteX20" fmla="*/ 0 w 5560752"/>
              <a:gd name="connsiteY20" fmla="*/ 0 h 6868800"/>
              <a:gd name="connsiteX21" fmla="*/ 5560752 w 5560752"/>
              <a:gd name="connsiteY21" fmla="*/ 0 h 6868800"/>
              <a:gd name="connsiteX22" fmla="*/ 5560752 w 5560752"/>
              <a:gd name="connsiteY22" fmla="*/ 6868800 h 6868800"/>
              <a:gd name="connsiteX23" fmla="*/ 2621885 w 5560752"/>
              <a:gd name="connsiteY23" fmla="*/ 6868800 h 6868800"/>
              <a:gd name="connsiteX24" fmla="*/ 2418035 w 5560752"/>
              <a:gd name="connsiteY24" fmla="*/ 6334754 h 6868800"/>
              <a:gd name="connsiteX25" fmla="*/ 4464207 w 5560752"/>
              <a:gd name="connsiteY25" fmla="*/ 6332960 h 6868800"/>
              <a:gd name="connsiteX26" fmla="*/ 2794373 w 5560752"/>
              <a:gd name="connsiteY26" fmla="*/ 2860946 h 6868800"/>
              <a:gd name="connsiteX27" fmla="*/ 2604149 w 5560752"/>
              <a:gd name="connsiteY27" fmla="*/ 3306692 h 6868800"/>
              <a:gd name="connsiteX28" fmla="*/ 1262196 w 5560752"/>
              <a:gd name="connsiteY28" fmla="*/ 3306692 h 6868800"/>
              <a:gd name="connsiteX29" fmla="*/ 0 w 5560752"/>
              <a:gd name="connsiteY29"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4464207 w 5560752"/>
              <a:gd name="connsiteY24" fmla="*/ 6332960 h 6868800"/>
              <a:gd name="connsiteX25" fmla="*/ 2794373 w 5560752"/>
              <a:gd name="connsiteY25" fmla="*/ 2860946 h 6868800"/>
              <a:gd name="connsiteX26" fmla="*/ 2604149 w 5560752"/>
              <a:gd name="connsiteY26" fmla="*/ 3306692 h 6868800"/>
              <a:gd name="connsiteX27" fmla="*/ 1262196 w 5560752"/>
              <a:gd name="connsiteY27" fmla="*/ 3306692 h 6868800"/>
              <a:gd name="connsiteX28" fmla="*/ 0 w 5560752"/>
              <a:gd name="connsiteY28"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2794373 w 5560752"/>
              <a:gd name="connsiteY24" fmla="*/ 2860946 h 6868800"/>
              <a:gd name="connsiteX25" fmla="*/ 2604149 w 5560752"/>
              <a:gd name="connsiteY25" fmla="*/ 3306692 h 6868800"/>
              <a:gd name="connsiteX26" fmla="*/ 1262196 w 5560752"/>
              <a:gd name="connsiteY26" fmla="*/ 3306692 h 6868800"/>
              <a:gd name="connsiteX27" fmla="*/ 0 w 5560752"/>
              <a:gd name="connsiteY27"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3653877 w 5560752"/>
              <a:gd name="connsiteY7" fmla="*/ 5064749 h 6868800"/>
              <a:gd name="connsiteX8" fmla="*/ 1934805 w 5560752"/>
              <a:gd name="connsiteY8" fmla="*/ 5064727 h 6868800"/>
              <a:gd name="connsiteX9" fmla="*/ 1917376 w 5560752"/>
              <a:gd name="connsiteY9" fmla="*/ 5018866 h 6868800"/>
              <a:gd name="connsiteX10" fmla="*/ 2523173 w 5560752"/>
              <a:gd name="connsiteY10" fmla="*/ 3608540 h 6868800"/>
              <a:gd name="connsiteX11" fmla="*/ 1381398 w 5560752"/>
              <a:gd name="connsiteY11" fmla="*/ 3608540 h 6868800"/>
              <a:gd name="connsiteX12" fmla="*/ 2475335 w 5560752"/>
              <a:gd name="connsiteY12" fmla="*/ 3608540 h 6868800"/>
              <a:gd name="connsiteX13" fmla="*/ 1896695 w 5560752"/>
              <a:gd name="connsiteY13" fmla="*/ 4964449 h 6868800"/>
              <a:gd name="connsiteX14" fmla="*/ 1381398 w 5560752"/>
              <a:gd name="connsiteY14" fmla="*/ 3608540 h 6868800"/>
              <a:gd name="connsiteX15" fmla="*/ 2828495 w 5560752"/>
              <a:gd name="connsiteY15" fmla="*/ 2897733 h 6868800"/>
              <a:gd name="connsiteX16" fmla="*/ 2652829 w 5560752"/>
              <a:gd name="connsiteY16" fmla="*/ 3306692 h 6868800"/>
              <a:gd name="connsiteX17" fmla="*/ 2828495 w 5560752"/>
              <a:gd name="connsiteY17" fmla="*/ 2897733 h 6868800"/>
              <a:gd name="connsiteX18" fmla="*/ 0 w 5560752"/>
              <a:gd name="connsiteY18" fmla="*/ 0 h 6868800"/>
              <a:gd name="connsiteX19" fmla="*/ 5560752 w 5560752"/>
              <a:gd name="connsiteY19" fmla="*/ 0 h 6868800"/>
              <a:gd name="connsiteX20" fmla="*/ 5560752 w 5560752"/>
              <a:gd name="connsiteY20" fmla="*/ 6868800 h 6868800"/>
              <a:gd name="connsiteX21" fmla="*/ 2621885 w 5560752"/>
              <a:gd name="connsiteY21" fmla="*/ 6868800 h 6868800"/>
              <a:gd name="connsiteX22" fmla="*/ 2418035 w 5560752"/>
              <a:gd name="connsiteY22" fmla="*/ 6334754 h 6868800"/>
              <a:gd name="connsiteX23" fmla="*/ 2794373 w 5560752"/>
              <a:gd name="connsiteY23" fmla="*/ 2860946 h 6868800"/>
              <a:gd name="connsiteX24" fmla="*/ 2604149 w 5560752"/>
              <a:gd name="connsiteY24" fmla="*/ 3306692 h 6868800"/>
              <a:gd name="connsiteX25" fmla="*/ 1262196 w 5560752"/>
              <a:gd name="connsiteY25" fmla="*/ 3306692 h 6868800"/>
              <a:gd name="connsiteX26" fmla="*/ 0 w 5560752"/>
              <a:gd name="connsiteY26"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1934805 w 5560752"/>
              <a:gd name="connsiteY7" fmla="*/ 5064727 h 6868800"/>
              <a:gd name="connsiteX8" fmla="*/ 1917376 w 5560752"/>
              <a:gd name="connsiteY8" fmla="*/ 5018866 h 6868800"/>
              <a:gd name="connsiteX9" fmla="*/ 2523173 w 5560752"/>
              <a:gd name="connsiteY9" fmla="*/ 3608540 h 6868800"/>
              <a:gd name="connsiteX10" fmla="*/ 1381398 w 5560752"/>
              <a:gd name="connsiteY10" fmla="*/ 3608540 h 6868800"/>
              <a:gd name="connsiteX11" fmla="*/ 2475335 w 5560752"/>
              <a:gd name="connsiteY11" fmla="*/ 3608540 h 6868800"/>
              <a:gd name="connsiteX12" fmla="*/ 1896695 w 5560752"/>
              <a:gd name="connsiteY12" fmla="*/ 4964449 h 6868800"/>
              <a:gd name="connsiteX13" fmla="*/ 1381398 w 5560752"/>
              <a:gd name="connsiteY13" fmla="*/ 3608540 h 6868800"/>
              <a:gd name="connsiteX14" fmla="*/ 2828495 w 5560752"/>
              <a:gd name="connsiteY14" fmla="*/ 2897733 h 6868800"/>
              <a:gd name="connsiteX15" fmla="*/ 2652829 w 5560752"/>
              <a:gd name="connsiteY15" fmla="*/ 3306692 h 6868800"/>
              <a:gd name="connsiteX16" fmla="*/ 2828495 w 5560752"/>
              <a:gd name="connsiteY16" fmla="*/ 2897733 h 6868800"/>
              <a:gd name="connsiteX17" fmla="*/ 0 w 5560752"/>
              <a:gd name="connsiteY17" fmla="*/ 0 h 6868800"/>
              <a:gd name="connsiteX18" fmla="*/ 5560752 w 5560752"/>
              <a:gd name="connsiteY18" fmla="*/ 0 h 6868800"/>
              <a:gd name="connsiteX19" fmla="*/ 5560752 w 5560752"/>
              <a:gd name="connsiteY19" fmla="*/ 6868800 h 6868800"/>
              <a:gd name="connsiteX20" fmla="*/ 2621885 w 5560752"/>
              <a:gd name="connsiteY20" fmla="*/ 6868800 h 6868800"/>
              <a:gd name="connsiteX21" fmla="*/ 2418035 w 5560752"/>
              <a:gd name="connsiteY21" fmla="*/ 6334754 h 6868800"/>
              <a:gd name="connsiteX22" fmla="*/ 2794373 w 5560752"/>
              <a:gd name="connsiteY22" fmla="*/ 2860946 h 6868800"/>
              <a:gd name="connsiteX23" fmla="*/ 2604149 w 5560752"/>
              <a:gd name="connsiteY23" fmla="*/ 3306692 h 6868800"/>
              <a:gd name="connsiteX24" fmla="*/ 1262196 w 5560752"/>
              <a:gd name="connsiteY24" fmla="*/ 3306692 h 6868800"/>
              <a:gd name="connsiteX25" fmla="*/ 0 w 5560752"/>
              <a:gd name="connsiteY25"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3100461 w 5560752"/>
              <a:gd name="connsiteY5" fmla="*/ 3608540 h 6868800"/>
              <a:gd name="connsiteX6" fmla="*/ 1934805 w 5560752"/>
              <a:gd name="connsiteY6" fmla="*/ 5064727 h 6868800"/>
              <a:gd name="connsiteX7" fmla="*/ 1917376 w 5560752"/>
              <a:gd name="connsiteY7" fmla="*/ 5018866 h 6868800"/>
              <a:gd name="connsiteX8" fmla="*/ 2523173 w 5560752"/>
              <a:gd name="connsiteY8" fmla="*/ 3608540 h 6868800"/>
              <a:gd name="connsiteX9" fmla="*/ 1381398 w 5560752"/>
              <a:gd name="connsiteY9" fmla="*/ 3608540 h 6868800"/>
              <a:gd name="connsiteX10" fmla="*/ 2475335 w 5560752"/>
              <a:gd name="connsiteY10" fmla="*/ 3608540 h 6868800"/>
              <a:gd name="connsiteX11" fmla="*/ 1896695 w 5560752"/>
              <a:gd name="connsiteY11" fmla="*/ 4964449 h 6868800"/>
              <a:gd name="connsiteX12" fmla="*/ 1381398 w 5560752"/>
              <a:gd name="connsiteY12" fmla="*/ 3608540 h 6868800"/>
              <a:gd name="connsiteX13" fmla="*/ 2828495 w 5560752"/>
              <a:gd name="connsiteY13" fmla="*/ 2897733 h 6868800"/>
              <a:gd name="connsiteX14" fmla="*/ 2652829 w 5560752"/>
              <a:gd name="connsiteY14" fmla="*/ 3306692 h 6868800"/>
              <a:gd name="connsiteX15" fmla="*/ 2828495 w 5560752"/>
              <a:gd name="connsiteY15" fmla="*/ 2897733 h 6868800"/>
              <a:gd name="connsiteX16" fmla="*/ 0 w 5560752"/>
              <a:gd name="connsiteY16" fmla="*/ 0 h 6868800"/>
              <a:gd name="connsiteX17" fmla="*/ 5560752 w 5560752"/>
              <a:gd name="connsiteY17" fmla="*/ 0 h 6868800"/>
              <a:gd name="connsiteX18" fmla="*/ 5560752 w 5560752"/>
              <a:gd name="connsiteY18" fmla="*/ 6868800 h 6868800"/>
              <a:gd name="connsiteX19" fmla="*/ 2621885 w 5560752"/>
              <a:gd name="connsiteY19" fmla="*/ 6868800 h 6868800"/>
              <a:gd name="connsiteX20" fmla="*/ 2418035 w 5560752"/>
              <a:gd name="connsiteY20" fmla="*/ 6334754 h 6868800"/>
              <a:gd name="connsiteX21" fmla="*/ 2794373 w 5560752"/>
              <a:gd name="connsiteY21" fmla="*/ 2860946 h 6868800"/>
              <a:gd name="connsiteX22" fmla="*/ 2604149 w 5560752"/>
              <a:gd name="connsiteY22" fmla="*/ 3306692 h 6868800"/>
              <a:gd name="connsiteX23" fmla="*/ 1262196 w 5560752"/>
              <a:gd name="connsiteY23" fmla="*/ 3306692 h 6868800"/>
              <a:gd name="connsiteX24" fmla="*/ 0 w 5560752"/>
              <a:gd name="connsiteY24"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1934805 w 5560752"/>
              <a:gd name="connsiteY5" fmla="*/ 5064727 h 6868800"/>
              <a:gd name="connsiteX6" fmla="*/ 1917376 w 5560752"/>
              <a:gd name="connsiteY6" fmla="*/ 5018866 h 6868800"/>
              <a:gd name="connsiteX7" fmla="*/ 2523173 w 5560752"/>
              <a:gd name="connsiteY7" fmla="*/ 3608540 h 6868800"/>
              <a:gd name="connsiteX8" fmla="*/ 1381398 w 5560752"/>
              <a:gd name="connsiteY8" fmla="*/ 3608540 h 6868800"/>
              <a:gd name="connsiteX9" fmla="*/ 2475335 w 5560752"/>
              <a:gd name="connsiteY9" fmla="*/ 3608540 h 6868800"/>
              <a:gd name="connsiteX10" fmla="*/ 1896695 w 5560752"/>
              <a:gd name="connsiteY10" fmla="*/ 4964449 h 6868800"/>
              <a:gd name="connsiteX11" fmla="*/ 1381398 w 5560752"/>
              <a:gd name="connsiteY11" fmla="*/ 3608540 h 6868800"/>
              <a:gd name="connsiteX12" fmla="*/ 2828495 w 5560752"/>
              <a:gd name="connsiteY12" fmla="*/ 2897733 h 6868800"/>
              <a:gd name="connsiteX13" fmla="*/ 2652829 w 5560752"/>
              <a:gd name="connsiteY13" fmla="*/ 3306692 h 6868800"/>
              <a:gd name="connsiteX14" fmla="*/ 2828495 w 5560752"/>
              <a:gd name="connsiteY14" fmla="*/ 2897733 h 6868800"/>
              <a:gd name="connsiteX15" fmla="*/ 0 w 5560752"/>
              <a:gd name="connsiteY15" fmla="*/ 0 h 6868800"/>
              <a:gd name="connsiteX16" fmla="*/ 5560752 w 5560752"/>
              <a:gd name="connsiteY16" fmla="*/ 0 h 6868800"/>
              <a:gd name="connsiteX17" fmla="*/ 5560752 w 5560752"/>
              <a:gd name="connsiteY17" fmla="*/ 6868800 h 6868800"/>
              <a:gd name="connsiteX18" fmla="*/ 2621885 w 5560752"/>
              <a:gd name="connsiteY18" fmla="*/ 6868800 h 6868800"/>
              <a:gd name="connsiteX19" fmla="*/ 2418035 w 5560752"/>
              <a:gd name="connsiteY19" fmla="*/ 6334754 h 6868800"/>
              <a:gd name="connsiteX20" fmla="*/ 2794373 w 5560752"/>
              <a:gd name="connsiteY20" fmla="*/ 2860946 h 6868800"/>
              <a:gd name="connsiteX21" fmla="*/ 2604149 w 5560752"/>
              <a:gd name="connsiteY21" fmla="*/ 3306692 h 6868800"/>
              <a:gd name="connsiteX22" fmla="*/ 1262196 w 5560752"/>
              <a:gd name="connsiteY22" fmla="*/ 3306692 h 6868800"/>
              <a:gd name="connsiteX23" fmla="*/ 0 w 5560752"/>
              <a:gd name="connsiteY23"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2828495 w 5560752"/>
              <a:gd name="connsiteY11" fmla="*/ 2897733 h 6868800"/>
              <a:gd name="connsiteX12" fmla="*/ 2652829 w 5560752"/>
              <a:gd name="connsiteY12" fmla="*/ 3306692 h 6868800"/>
              <a:gd name="connsiteX13" fmla="*/ 2828495 w 5560752"/>
              <a:gd name="connsiteY13" fmla="*/ 2897733 h 6868800"/>
              <a:gd name="connsiteX14" fmla="*/ 0 w 5560752"/>
              <a:gd name="connsiteY14" fmla="*/ 0 h 6868800"/>
              <a:gd name="connsiteX15" fmla="*/ 5560752 w 5560752"/>
              <a:gd name="connsiteY15" fmla="*/ 0 h 6868800"/>
              <a:gd name="connsiteX16" fmla="*/ 5560752 w 5560752"/>
              <a:gd name="connsiteY16" fmla="*/ 6868800 h 6868800"/>
              <a:gd name="connsiteX17" fmla="*/ 2621885 w 5560752"/>
              <a:gd name="connsiteY17" fmla="*/ 6868800 h 6868800"/>
              <a:gd name="connsiteX18" fmla="*/ 2418035 w 5560752"/>
              <a:gd name="connsiteY18" fmla="*/ 6334754 h 6868800"/>
              <a:gd name="connsiteX19" fmla="*/ 2794373 w 5560752"/>
              <a:gd name="connsiteY19" fmla="*/ 2860946 h 6868800"/>
              <a:gd name="connsiteX20" fmla="*/ 2604149 w 5560752"/>
              <a:gd name="connsiteY20" fmla="*/ 3306692 h 6868800"/>
              <a:gd name="connsiteX21" fmla="*/ 1262196 w 5560752"/>
              <a:gd name="connsiteY21" fmla="*/ 3306692 h 6868800"/>
              <a:gd name="connsiteX22" fmla="*/ 0 w 5560752"/>
              <a:gd name="connsiteY22"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2461592 w 5560752"/>
              <a:gd name="connsiteY2" fmla="*/ 5073845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1949917 w 5560752"/>
              <a:gd name="connsiteY2" fmla="*/ 5104493 h 6868800"/>
              <a:gd name="connsiteX3" fmla="*/ 1917376 w 5560752"/>
              <a:gd name="connsiteY3" fmla="*/ 5018866 h 6868800"/>
              <a:gd name="connsiteX4" fmla="*/ 1934805 w 5560752"/>
              <a:gd name="connsiteY4" fmla="*/ 5064727 h 6868800"/>
              <a:gd name="connsiteX5" fmla="*/ 1917376 w 5560752"/>
              <a:gd name="connsiteY5" fmla="*/ 5018866 h 6868800"/>
              <a:gd name="connsiteX6" fmla="*/ 1381398 w 5560752"/>
              <a:gd name="connsiteY6" fmla="*/ 3608540 h 6868800"/>
              <a:gd name="connsiteX7" fmla="*/ 2475335 w 5560752"/>
              <a:gd name="connsiteY7" fmla="*/ 3608540 h 6868800"/>
              <a:gd name="connsiteX8" fmla="*/ 1896695 w 5560752"/>
              <a:gd name="connsiteY8" fmla="*/ 4964449 h 6868800"/>
              <a:gd name="connsiteX9" fmla="*/ 1381398 w 5560752"/>
              <a:gd name="connsiteY9" fmla="*/ 3608540 h 6868800"/>
              <a:gd name="connsiteX10" fmla="*/ 0 w 5560752"/>
              <a:gd name="connsiteY10" fmla="*/ 0 h 6868800"/>
              <a:gd name="connsiteX11" fmla="*/ 5560752 w 5560752"/>
              <a:gd name="connsiteY11" fmla="*/ 0 h 6868800"/>
              <a:gd name="connsiteX12" fmla="*/ 5560752 w 5560752"/>
              <a:gd name="connsiteY12" fmla="*/ 6868800 h 6868800"/>
              <a:gd name="connsiteX13" fmla="*/ 2621885 w 5560752"/>
              <a:gd name="connsiteY13" fmla="*/ 6868800 h 6868800"/>
              <a:gd name="connsiteX14" fmla="*/ 2418035 w 5560752"/>
              <a:gd name="connsiteY14" fmla="*/ 6334754 h 6868800"/>
              <a:gd name="connsiteX15" fmla="*/ 2794373 w 5560752"/>
              <a:gd name="connsiteY15" fmla="*/ 2860946 h 6868800"/>
              <a:gd name="connsiteX16" fmla="*/ 2604149 w 5560752"/>
              <a:gd name="connsiteY16" fmla="*/ 3306692 h 6868800"/>
              <a:gd name="connsiteX17" fmla="*/ 1262196 w 5560752"/>
              <a:gd name="connsiteY17" fmla="*/ 3306692 h 6868800"/>
              <a:gd name="connsiteX18" fmla="*/ 0 w 5560752"/>
              <a:gd name="connsiteY18"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896695 w 5560752"/>
              <a:gd name="connsiteY5" fmla="*/ 4964449 h 6868800"/>
              <a:gd name="connsiteX6" fmla="*/ 1381398 w 5560752"/>
              <a:gd name="connsiteY6" fmla="*/ 3608540 h 6868800"/>
              <a:gd name="connsiteX7" fmla="*/ 0 w 5560752"/>
              <a:gd name="connsiteY7" fmla="*/ 0 h 6868800"/>
              <a:gd name="connsiteX8" fmla="*/ 5560752 w 5560752"/>
              <a:gd name="connsiteY8" fmla="*/ 0 h 6868800"/>
              <a:gd name="connsiteX9" fmla="*/ 5560752 w 5560752"/>
              <a:gd name="connsiteY9" fmla="*/ 6868800 h 6868800"/>
              <a:gd name="connsiteX10" fmla="*/ 2621885 w 5560752"/>
              <a:gd name="connsiteY10" fmla="*/ 6868800 h 6868800"/>
              <a:gd name="connsiteX11" fmla="*/ 2418035 w 5560752"/>
              <a:gd name="connsiteY11" fmla="*/ 6334754 h 6868800"/>
              <a:gd name="connsiteX12" fmla="*/ 2794373 w 5560752"/>
              <a:gd name="connsiteY12" fmla="*/ 2860946 h 6868800"/>
              <a:gd name="connsiteX13" fmla="*/ 2604149 w 5560752"/>
              <a:gd name="connsiteY13" fmla="*/ 3306692 h 6868800"/>
              <a:gd name="connsiteX14" fmla="*/ 1262196 w 5560752"/>
              <a:gd name="connsiteY14" fmla="*/ 3306692 h 6868800"/>
              <a:gd name="connsiteX15" fmla="*/ 0 w 5560752"/>
              <a:gd name="connsiteY15"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381398 w 5560752"/>
              <a:gd name="connsiteY5" fmla="*/ 3608540 h 6868800"/>
              <a:gd name="connsiteX6" fmla="*/ 0 w 5560752"/>
              <a:gd name="connsiteY6" fmla="*/ 0 h 6868800"/>
              <a:gd name="connsiteX7" fmla="*/ 5560752 w 5560752"/>
              <a:gd name="connsiteY7" fmla="*/ 0 h 6868800"/>
              <a:gd name="connsiteX8" fmla="*/ 5560752 w 5560752"/>
              <a:gd name="connsiteY8" fmla="*/ 6868800 h 6868800"/>
              <a:gd name="connsiteX9" fmla="*/ 2621885 w 5560752"/>
              <a:gd name="connsiteY9" fmla="*/ 6868800 h 6868800"/>
              <a:gd name="connsiteX10" fmla="*/ 2418035 w 5560752"/>
              <a:gd name="connsiteY10" fmla="*/ 6334754 h 6868800"/>
              <a:gd name="connsiteX11" fmla="*/ 2794373 w 5560752"/>
              <a:gd name="connsiteY11" fmla="*/ 2860946 h 6868800"/>
              <a:gd name="connsiteX12" fmla="*/ 2604149 w 5560752"/>
              <a:gd name="connsiteY12" fmla="*/ 3306692 h 6868800"/>
              <a:gd name="connsiteX13" fmla="*/ 1262196 w 5560752"/>
              <a:gd name="connsiteY13" fmla="*/ 3306692 h 6868800"/>
              <a:gd name="connsiteX14" fmla="*/ 0 w 5560752"/>
              <a:gd name="connsiteY14" fmla="*/ 0 h 6868800"/>
              <a:gd name="connsiteX0" fmla="*/ 1381398 w 5560752"/>
              <a:gd name="connsiteY0" fmla="*/ 3608540 h 6868800"/>
              <a:gd name="connsiteX1" fmla="*/ 2475335 w 5560752"/>
              <a:gd name="connsiteY1" fmla="*/ 3608540 h 6868800"/>
              <a:gd name="connsiteX2" fmla="*/ 1381398 w 5560752"/>
              <a:gd name="connsiteY2" fmla="*/ 3608540 h 6868800"/>
              <a:gd name="connsiteX3" fmla="*/ 0 w 5560752"/>
              <a:gd name="connsiteY3" fmla="*/ 0 h 6868800"/>
              <a:gd name="connsiteX4" fmla="*/ 5560752 w 5560752"/>
              <a:gd name="connsiteY4" fmla="*/ 0 h 6868800"/>
              <a:gd name="connsiteX5" fmla="*/ 5560752 w 5560752"/>
              <a:gd name="connsiteY5" fmla="*/ 6868800 h 6868800"/>
              <a:gd name="connsiteX6" fmla="*/ 2621885 w 5560752"/>
              <a:gd name="connsiteY6" fmla="*/ 6868800 h 6868800"/>
              <a:gd name="connsiteX7" fmla="*/ 2418035 w 5560752"/>
              <a:gd name="connsiteY7" fmla="*/ 6334754 h 6868800"/>
              <a:gd name="connsiteX8" fmla="*/ 2794373 w 5560752"/>
              <a:gd name="connsiteY8" fmla="*/ 2860946 h 6868800"/>
              <a:gd name="connsiteX9" fmla="*/ 2604149 w 5560752"/>
              <a:gd name="connsiteY9" fmla="*/ 3306692 h 6868800"/>
              <a:gd name="connsiteX10" fmla="*/ 1262196 w 5560752"/>
              <a:gd name="connsiteY10" fmla="*/ 3306692 h 6868800"/>
              <a:gd name="connsiteX11" fmla="*/ 0 w 5560752"/>
              <a:gd name="connsiteY11"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794373 w 5560752"/>
              <a:gd name="connsiteY5" fmla="*/ 2860946 h 6868800"/>
              <a:gd name="connsiteX6" fmla="*/ 2604149 w 5560752"/>
              <a:gd name="connsiteY6" fmla="*/ 3306692 h 6868800"/>
              <a:gd name="connsiteX7" fmla="*/ 1262196 w 5560752"/>
              <a:gd name="connsiteY7" fmla="*/ 3306692 h 6868800"/>
              <a:gd name="connsiteX8" fmla="*/ 0 w 5560752"/>
              <a:gd name="connsiteY8"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604149 w 5560752"/>
              <a:gd name="connsiteY5" fmla="*/ 3306692 h 6868800"/>
              <a:gd name="connsiteX6" fmla="*/ 1262196 w 5560752"/>
              <a:gd name="connsiteY6" fmla="*/ 3306692 h 6868800"/>
              <a:gd name="connsiteX7" fmla="*/ 0 w 5560752"/>
              <a:gd name="connsiteY7"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604149 w 5560752"/>
              <a:gd name="connsiteY4" fmla="*/ 3306692 h 6868800"/>
              <a:gd name="connsiteX5" fmla="*/ 1262196 w 5560752"/>
              <a:gd name="connsiteY5" fmla="*/ 3306692 h 6868800"/>
              <a:gd name="connsiteX6" fmla="*/ 0 w 5560752"/>
              <a:gd name="connsiteY6"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1262196 w 5560752"/>
              <a:gd name="connsiteY4" fmla="*/ 3306692 h 6868800"/>
              <a:gd name="connsiteX5" fmla="*/ 0 w 5560752"/>
              <a:gd name="connsiteY5"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0 w 5560752"/>
              <a:gd name="connsiteY4" fmla="*/ 0 h 6868800"/>
              <a:gd name="connsiteX0" fmla="*/ 1254105 w 6814857"/>
              <a:gd name="connsiteY0" fmla="*/ 0 h 6909943"/>
              <a:gd name="connsiteX1" fmla="*/ 6814857 w 6814857"/>
              <a:gd name="connsiteY1" fmla="*/ 0 h 6909943"/>
              <a:gd name="connsiteX2" fmla="*/ 6814857 w 6814857"/>
              <a:gd name="connsiteY2" fmla="*/ 6868800 h 6909943"/>
              <a:gd name="connsiteX3" fmla="*/ 0 w 6814857"/>
              <a:gd name="connsiteY3" fmla="*/ 6909943 h 6909943"/>
              <a:gd name="connsiteX4" fmla="*/ 1254105 w 6814857"/>
              <a:gd name="connsiteY4" fmla="*/ 0 h 6909943"/>
              <a:gd name="connsiteX0" fmla="*/ 1246535 w 6807287"/>
              <a:gd name="connsiteY0" fmla="*/ 0 h 6868800"/>
              <a:gd name="connsiteX1" fmla="*/ 6807287 w 6807287"/>
              <a:gd name="connsiteY1" fmla="*/ 0 h 6868800"/>
              <a:gd name="connsiteX2" fmla="*/ 6807287 w 6807287"/>
              <a:gd name="connsiteY2" fmla="*/ 6868800 h 6868800"/>
              <a:gd name="connsiteX3" fmla="*/ 0 w 6807287"/>
              <a:gd name="connsiteY3" fmla="*/ 6841371 h 6868800"/>
              <a:gd name="connsiteX4" fmla="*/ 1246535 w 6807287"/>
              <a:gd name="connsiteY4" fmla="*/ 0 h 6868800"/>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105735 w 6807287"/>
              <a:gd name="connsiteY0" fmla="*/ 0 h 6851748"/>
              <a:gd name="connsiteX1" fmla="*/ 6807287 w 6807287"/>
              <a:gd name="connsiteY1" fmla="*/ 10377 h 6851748"/>
              <a:gd name="connsiteX2" fmla="*/ 6792146 w 6807287"/>
              <a:gd name="connsiteY2" fmla="*/ 6824319 h 6851748"/>
              <a:gd name="connsiteX3" fmla="*/ 0 w 6807287"/>
              <a:gd name="connsiteY3" fmla="*/ 6851748 h 6851748"/>
              <a:gd name="connsiteX4" fmla="*/ 1105735 w 6807287"/>
              <a:gd name="connsiteY4" fmla="*/ 0 h 6851748"/>
              <a:gd name="connsiteX0" fmla="*/ 1697095 w 7398647"/>
              <a:gd name="connsiteY0" fmla="*/ 0 h 6841372"/>
              <a:gd name="connsiteX1" fmla="*/ 7398647 w 7398647"/>
              <a:gd name="connsiteY1" fmla="*/ 10377 h 6841372"/>
              <a:gd name="connsiteX2" fmla="*/ 7383506 w 7398647"/>
              <a:gd name="connsiteY2" fmla="*/ 6824319 h 6841372"/>
              <a:gd name="connsiteX3" fmla="*/ 0 w 7398647"/>
              <a:gd name="connsiteY3" fmla="*/ 6841372 h 6841372"/>
              <a:gd name="connsiteX4" fmla="*/ 1697095 w 7398647"/>
              <a:gd name="connsiteY4" fmla="*/ 0 h 6841372"/>
              <a:gd name="connsiteX0" fmla="*/ 1676371 w 7377923"/>
              <a:gd name="connsiteY0" fmla="*/ 0 h 6824319"/>
              <a:gd name="connsiteX1" fmla="*/ 7377923 w 7377923"/>
              <a:gd name="connsiteY1" fmla="*/ 10377 h 6824319"/>
              <a:gd name="connsiteX2" fmla="*/ 7362782 w 7377923"/>
              <a:gd name="connsiteY2" fmla="*/ 6824319 h 6824319"/>
              <a:gd name="connsiteX3" fmla="*/ 0 w 7377923"/>
              <a:gd name="connsiteY3" fmla="*/ 6820161 h 6824319"/>
              <a:gd name="connsiteX4" fmla="*/ 1676371 w 7377923"/>
              <a:gd name="connsiteY4" fmla="*/ 0 h 6824319"/>
              <a:gd name="connsiteX0" fmla="*/ 1674069 w 7377923"/>
              <a:gd name="connsiteY0" fmla="*/ 0 h 6828561"/>
              <a:gd name="connsiteX1" fmla="*/ 7377923 w 7377923"/>
              <a:gd name="connsiteY1" fmla="*/ 14619 h 6828561"/>
              <a:gd name="connsiteX2" fmla="*/ 7362782 w 7377923"/>
              <a:gd name="connsiteY2" fmla="*/ 6828561 h 6828561"/>
              <a:gd name="connsiteX3" fmla="*/ 0 w 7377923"/>
              <a:gd name="connsiteY3" fmla="*/ 6824403 h 6828561"/>
              <a:gd name="connsiteX4" fmla="*/ 1674069 w 7377923"/>
              <a:gd name="connsiteY4" fmla="*/ 0 h 6828561"/>
              <a:gd name="connsiteX0" fmla="*/ 1803605 w 7377923"/>
              <a:gd name="connsiteY0" fmla="*/ 265534 h 6813942"/>
              <a:gd name="connsiteX1" fmla="*/ 7377923 w 7377923"/>
              <a:gd name="connsiteY1" fmla="*/ 0 h 6813942"/>
              <a:gd name="connsiteX2" fmla="*/ 7362782 w 7377923"/>
              <a:gd name="connsiteY2" fmla="*/ 6813942 h 6813942"/>
              <a:gd name="connsiteX3" fmla="*/ 0 w 7377923"/>
              <a:gd name="connsiteY3" fmla="*/ 6809784 h 6813942"/>
              <a:gd name="connsiteX4" fmla="*/ 1803605 w 7377923"/>
              <a:gd name="connsiteY4" fmla="*/ 265534 h 6813942"/>
              <a:gd name="connsiteX0" fmla="*/ 1803605 w 7377923"/>
              <a:gd name="connsiteY0" fmla="*/ 0 h 6548408"/>
              <a:gd name="connsiteX1" fmla="*/ 7377923 w 7377923"/>
              <a:gd name="connsiteY1" fmla="*/ 45746 h 6548408"/>
              <a:gd name="connsiteX2" fmla="*/ 7362782 w 7377923"/>
              <a:gd name="connsiteY2" fmla="*/ 6548408 h 6548408"/>
              <a:gd name="connsiteX3" fmla="*/ 0 w 7377923"/>
              <a:gd name="connsiteY3" fmla="*/ 6544250 h 6548408"/>
              <a:gd name="connsiteX4" fmla="*/ 1803605 w 7377923"/>
              <a:gd name="connsiteY4" fmla="*/ 0 h 6548408"/>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58959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89590 w 7163908"/>
              <a:gd name="connsiteY4" fmla="*/ 37263 h 6623017"/>
              <a:gd name="connsiteX0" fmla="*/ 153327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33270 w 7163908"/>
              <a:gd name="connsiteY4" fmla="*/ 37263 h 6623017"/>
              <a:gd name="connsiteX0" fmla="*/ 1555798 w 7186436"/>
              <a:gd name="connsiteY0" fmla="*/ 37263 h 6623017"/>
              <a:gd name="connsiteX1" fmla="*/ 7186436 w 7186436"/>
              <a:gd name="connsiteY1" fmla="*/ 0 h 6623017"/>
              <a:gd name="connsiteX2" fmla="*/ 7171295 w 7186436"/>
              <a:gd name="connsiteY2" fmla="*/ 6585671 h 6623017"/>
              <a:gd name="connsiteX3" fmla="*/ 0 w 7186436"/>
              <a:gd name="connsiteY3" fmla="*/ 6623017 h 6623017"/>
              <a:gd name="connsiteX4" fmla="*/ 1555798 w 7186436"/>
              <a:gd name="connsiteY4" fmla="*/ 37263 h 6623017"/>
              <a:gd name="connsiteX0" fmla="*/ 1555798 w 7205087"/>
              <a:gd name="connsiteY0" fmla="*/ 37263 h 6623017"/>
              <a:gd name="connsiteX1" fmla="*/ 7186436 w 7205087"/>
              <a:gd name="connsiteY1" fmla="*/ 0 h 6623017"/>
              <a:gd name="connsiteX2" fmla="*/ 7205087 w 7205087"/>
              <a:gd name="connsiteY2" fmla="*/ 6575295 h 6623017"/>
              <a:gd name="connsiteX3" fmla="*/ 0 w 7205087"/>
              <a:gd name="connsiteY3" fmla="*/ 6623017 h 6623017"/>
              <a:gd name="connsiteX4" fmla="*/ 1555798 w 7205087"/>
              <a:gd name="connsiteY4" fmla="*/ 37263 h 6623017"/>
              <a:gd name="connsiteX0" fmla="*/ 1522005 w 7171294"/>
              <a:gd name="connsiteY0" fmla="*/ 37263 h 6623017"/>
              <a:gd name="connsiteX1" fmla="*/ 7152643 w 7171294"/>
              <a:gd name="connsiteY1" fmla="*/ 0 h 6623017"/>
              <a:gd name="connsiteX2" fmla="*/ 7171294 w 7171294"/>
              <a:gd name="connsiteY2" fmla="*/ 6575295 h 6623017"/>
              <a:gd name="connsiteX3" fmla="*/ 0 w 7171294"/>
              <a:gd name="connsiteY3" fmla="*/ 6623017 h 6623017"/>
              <a:gd name="connsiteX4" fmla="*/ 1522005 w 7171294"/>
              <a:gd name="connsiteY4" fmla="*/ 37263 h 6623017"/>
              <a:gd name="connsiteX0" fmla="*/ 1522005 w 7171295"/>
              <a:gd name="connsiteY0" fmla="*/ 3726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37263 h 6627177"/>
              <a:gd name="connsiteX0" fmla="*/ 1522005 w 7171295"/>
              <a:gd name="connsiteY0" fmla="*/ 6441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64413 h 6627177"/>
              <a:gd name="connsiteX0" fmla="*/ 1531216 w 7171295"/>
              <a:gd name="connsiteY0" fmla="*/ 13506 h 6627177"/>
              <a:gd name="connsiteX1" fmla="*/ 7152643 w 7171295"/>
              <a:gd name="connsiteY1" fmla="*/ 0 h 6627177"/>
              <a:gd name="connsiteX2" fmla="*/ 7171295 w 7171295"/>
              <a:gd name="connsiteY2" fmla="*/ 6627177 h 6627177"/>
              <a:gd name="connsiteX3" fmla="*/ 0 w 7171295"/>
              <a:gd name="connsiteY3" fmla="*/ 6623017 h 6627177"/>
              <a:gd name="connsiteX4" fmla="*/ 1531216 w 7171295"/>
              <a:gd name="connsiteY4" fmla="*/ 13506 h 6627177"/>
              <a:gd name="connsiteX0" fmla="*/ 1540427 w 7171295"/>
              <a:gd name="connsiteY0" fmla="*/ 0 h 6630640"/>
              <a:gd name="connsiteX1" fmla="*/ 7152643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40427 w 7171295"/>
              <a:gd name="connsiteY0" fmla="*/ 0 h 6630640"/>
              <a:gd name="connsiteX1" fmla="*/ 7148039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54243 w 7185111"/>
              <a:gd name="connsiteY0" fmla="*/ 0 h 6660418"/>
              <a:gd name="connsiteX1" fmla="*/ 7161855 w 7185111"/>
              <a:gd name="connsiteY1" fmla="*/ 3463 h 6660418"/>
              <a:gd name="connsiteX2" fmla="*/ 7185111 w 7185111"/>
              <a:gd name="connsiteY2" fmla="*/ 6630640 h 6660418"/>
              <a:gd name="connsiteX3" fmla="*/ 0 w 7185111"/>
              <a:gd name="connsiteY3" fmla="*/ 6660418 h 6660418"/>
              <a:gd name="connsiteX4" fmla="*/ 1554243 w 7185111"/>
              <a:gd name="connsiteY4" fmla="*/ 0 h 6660418"/>
              <a:gd name="connsiteX0" fmla="*/ 1545032 w 7175900"/>
              <a:gd name="connsiteY0" fmla="*/ 0 h 6660418"/>
              <a:gd name="connsiteX1" fmla="*/ 7152644 w 7175900"/>
              <a:gd name="connsiteY1" fmla="*/ 3463 h 6660418"/>
              <a:gd name="connsiteX2" fmla="*/ 7175900 w 7175900"/>
              <a:gd name="connsiteY2" fmla="*/ 6630640 h 6660418"/>
              <a:gd name="connsiteX3" fmla="*/ 0 w 7175900"/>
              <a:gd name="connsiteY3" fmla="*/ 6660418 h 6660418"/>
              <a:gd name="connsiteX4" fmla="*/ 1545032 w 7175900"/>
              <a:gd name="connsiteY4" fmla="*/ 0 h 6660418"/>
              <a:gd name="connsiteX0" fmla="*/ 1545032 w 7154465"/>
              <a:gd name="connsiteY0" fmla="*/ 0 h 6673062"/>
              <a:gd name="connsiteX1" fmla="*/ 7152644 w 7154465"/>
              <a:gd name="connsiteY1" fmla="*/ 3463 h 6673062"/>
              <a:gd name="connsiteX2" fmla="*/ 7152874 w 7154465"/>
              <a:gd name="connsiteY2" fmla="*/ 6673062 h 6673062"/>
              <a:gd name="connsiteX3" fmla="*/ 0 w 7154465"/>
              <a:gd name="connsiteY3" fmla="*/ 6660418 h 6673062"/>
              <a:gd name="connsiteX4" fmla="*/ 1545032 w 7154465"/>
              <a:gd name="connsiteY4" fmla="*/ 0 h 6673062"/>
              <a:gd name="connsiteX0" fmla="*/ 1545032 w 7153789"/>
              <a:gd name="connsiteY0" fmla="*/ 0 h 6681546"/>
              <a:gd name="connsiteX1" fmla="*/ 7152644 w 7153789"/>
              <a:gd name="connsiteY1" fmla="*/ 3463 h 6681546"/>
              <a:gd name="connsiteX2" fmla="*/ 7143664 w 7153789"/>
              <a:gd name="connsiteY2" fmla="*/ 6681546 h 6681546"/>
              <a:gd name="connsiteX3" fmla="*/ 0 w 7153789"/>
              <a:gd name="connsiteY3" fmla="*/ 6660418 h 6681546"/>
              <a:gd name="connsiteX4" fmla="*/ 1545032 w 7153789"/>
              <a:gd name="connsiteY4" fmla="*/ 0 h 6681546"/>
              <a:gd name="connsiteX0" fmla="*/ 1549638 w 7158395"/>
              <a:gd name="connsiteY0" fmla="*/ 0 h 6681546"/>
              <a:gd name="connsiteX1" fmla="*/ 7157250 w 7158395"/>
              <a:gd name="connsiteY1" fmla="*/ 3463 h 6681546"/>
              <a:gd name="connsiteX2" fmla="*/ 7148270 w 7158395"/>
              <a:gd name="connsiteY2" fmla="*/ 6681546 h 6681546"/>
              <a:gd name="connsiteX3" fmla="*/ 0 w 7158395"/>
              <a:gd name="connsiteY3" fmla="*/ 6668904 h 6681546"/>
              <a:gd name="connsiteX4" fmla="*/ 1549638 w 7158395"/>
              <a:gd name="connsiteY4" fmla="*/ 0 h 6681546"/>
              <a:gd name="connsiteX0" fmla="*/ 1558849 w 7167606"/>
              <a:gd name="connsiteY0" fmla="*/ 0 h 6681546"/>
              <a:gd name="connsiteX1" fmla="*/ 7166461 w 7167606"/>
              <a:gd name="connsiteY1" fmla="*/ 3463 h 6681546"/>
              <a:gd name="connsiteX2" fmla="*/ 7157481 w 7167606"/>
              <a:gd name="connsiteY2" fmla="*/ 6681546 h 6681546"/>
              <a:gd name="connsiteX3" fmla="*/ 0 w 7167606"/>
              <a:gd name="connsiteY3" fmla="*/ 6677390 h 6681546"/>
              <a:gd name="connsiteX4" fmla="*/ 1558849 w 7167606"/>
              <a:gd name="connsiteY4" fmla="*/ 0 h 6681546"/>
              <a:gd name="connsiteX0" fmla="*/ 1558861 w 7167618"/>
              <a:gd name="connsiteY0" fmla="*/ 0 h 6681546"/>
              <a:gd name="connsiteX1" fmla="*/ 7166473 w 7167618"/>
              <a:gd name="connsiteY1" fmla="*/ 3463 h 6681546"/>
              <a:gd name="connsiteX2" fmla="*/ 7157493 w 7167618"/>
              <a:gd name="connsiteY2" fmla="*/ 6681546 h 6681546"/>
              <a:gd name="connsiteX3" fmla="*/ 12 w 7167618"/>
              <a:gd name="connsiteY3" fmla="*/ 6677390 h 6681546"/>
              <a:gd name="connsiteX4" fmla="*/ 1558861 w 7167618"/>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8861 w 7167212"/>
              <a:gd name="connsiteY4" fmla="*/ 5 h 6681551"/>
              <a:gd name="connsiteX0" fmla="*/ 1554256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4256 w 7167212"/>
              <a:gd name="connsiteY4" fmla="*/ 5 h 6681551"/>
              <a:gd name="connsiteX0" fmla="*/ 1549650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49650 w 7167212"/>
              <a:gd name="connsiteY4" fmla="*/ 5 h 6681551"/>
              <a:gd name="connsiteX0" fmla="*/ 1391955 w 7167212"/>
              <a:gd name="connsiteY0" fmla="*/ 7014 h 6678184"/>
              <a:gd name="connsiteX1" fmla="*/ 7166473 w 7167212"/>
              <a:gd name="connsiteY1" fmla="*/ 101 h 6678184"/>
              <a:gd name="connsiteX2" fmla="*/ 7143678 w 7167212"/>
              <a:gd name="connsiteY2" fmla="*/ 6678184 h 6678184"/>
              <a:gd name="connsiteX3" fmla="*/ 12 w 7167212"/>
              <a:gd name="connsiteY3" fmla="*/ 6674028 h 6678184"/>
              <a:gd name="connsiteX4" fmla="*/ 1391955 w 7167212"/>
              <a:gd name="connsiteY4" fmla="*/ 7014 h 6678184"/>
              <a:gd name="connsiteX0" fmla="*/ 1437012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37012 w 7212269"/>
              <a:gd name="connsiteY4" fmla="*/ 7014 h 6678184"/>
              <a:gd name="connsiteX0" fmla="*/ 1458504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58504 w 7212269"/>
              <a:gd name="connsiteY4" fmla="*/ 7014 h 6678184"/>
              <a:gd name="connsiteX0" fmla="*/ 1446224 w 7199989"/>
              <a:gd name="connsiteY0" fmla="*/ 7014 h 6678184"/>
              <a:gd name="connsiteX1" fmla="*/ 7199250 w 7199989"/>
              <a:gd name="connsiteY1" fmla="*/ 101 h 6678184"/>
              <a:gd name="connsiteX2" fmla="*/ 7176455 w 7199989"/>
              <a:gd name="connsiteY2" fmla="*/ 6678184 h 6678184"/>
              <a:gd name="connsiteX3" fmla="*/ 13 w 7199989"/>
              <a:gd name="connsiteY3" fmla="*/ 6674028 h 6678184"/>
              <a:gd name="connsiteX4" fmla="*/ 1446224 w 7199989"/>
              <a:gd name="connsiteY4" fmla="*/ 7014 h 6678184"/>
              <a:gd name="connsiteX0" fmla="*/ 1446247 w 7200012"/>
              <a:gd name="connsiteY0" fmla="*/ 7014 h 6678184"/>
              <a:gd name="connsiteX1" fmla="*/ 7199273 w 7200012"/>
              <a:gd name="connsiteY1" fmla="*/ 101 h 6678184"/>
              <a:gd name="connsiteX2" fmla="*/ 7176478 w 7200012"/>
              <a:gd name="connsiteY2" fmla="*/ 6678184 h 6678184"/>
              <a:gd name="connsiteX3" fmla="*/ 36 w 7200012"/>
              <a:gd name="connsiteY3" fmla="*/ 6674028 h 6678184"/>
              <a:gd name="connsiteX4" fmla="*/ 1446247 w 7200012"/>
              <a:gd name="connsiteY4" fmla="*/ 7014 h 6678184"/>
              <a:gd name="connsiteX0" fmla="*/ 1496934 w 7250699"/>
              <a:gd name="connsiteY0" fmla="*/ 7014 h 6678184"/>
              <a:gd name="connsiteX1" fmla="*/ 7249960 w 7250699"/>
              <a:gd name="connsiteY1" fmla="*/ 101 h 6678184"/>
              <a:gd name="connsiteX2" fmla="*/ 7227165 w 7250699"/>
              <a:gd name="connsiteY2" fmla="*/ 6678184 h 6678184"/>
              <a:gd name="connsiteX3" fmla="*/ 35 w 7250699"/>
              <a:gd name="connsiteY3" fmla="*/ 6674028 h 6678184"/>
              <a:gd name="connsiteX4" fmla="*/ 1496934 w 7250699"/>
              <a:gd name="connsiteY4" fmla="*/ 7014 h 6678184"/>
              <a:gd name="connsiteX0" fmla="*/ 1480039 w 7250699"/>
              <a:gd name="connsiteY0" fmla="*/ 3 h 6681549"/>
              <a:gd name="connsiteX1" fmla="*/ 7249960 w 7250699"/>
              <a:gd name="connsiteY1" fmla="*/ 3466 h 6681549"/>
              <a:gd name="connsiteX2" fmla="*/ 7227165 w 7250699"/>
              <a:gd name="connsiteY2" fmla="*/ 6681549 h 6681549"/>
              <a:gd name="connsiteX3" fmla="*/ 35 w 7250699"/>
              <a:gd name="connsiteY3" fmla="*/ 6677393 h 6681549"/>
              <a:gd name="connsiteX4" fmla="*/ 1480039 w 7250699"/>
              <a:gd name="connsiteY4" fmla="*/ 3 h 6681549"/>
              <a:gd name="connsiteX0" fmla="*/ 1451881 w 7222541"/>
              <a:gd name="connsiteY0" fmla="*/ 3 h 6681549"/>
              <a:gd name="connsiteX1" fmla="*/ 7221802 w 7222541"/>
              <a:gd name="connsiteY1" fmla="*/ 3466 h 6681549"/>
              <a:gd name="connsiteX2" fmla="*/ 7199007 w 7222541"/>
              <a:gd name="connsiteY2" fmla="*/ 6681549 h 6681549"/>
              <a:gd name="connsiteX3" fmla="*/ 37 w 7222541"/>
              <a:gd name="connsiteY3" fmla="*/ 6667015 h 6681549"/>
              <a:gd name="connsiteX4" fmla="*/ 1451881 w 7222541"/>
              <a:gd name="connsiteY4" fmla="*/ 3 h 6681549"/>
              <a:gd name="connsiteX0" fmla="*/ 23061 w 5793721"/>
              <a:gd name="connsiteY0" fmla="*/ 3 h 6684096"/>
              <a:gd name="connsiteX1" fmla="*/ 5792982 w 5793721"/>
              <a:gd name="connsiteY1" fmla="*/ 3466 h 6684096"/>
              <a:gd name="connsiteX2" fmla="*/ 5770187 w 5793721"/>
              <a:gd name="connsiteY2" fmla="*/ 6681549 h 6684096"/>
              <a:gd name="connsiteX3" fmla="*/ 1308 w 5793721"/>
              <a:gd name="connsiteY3" fmla="*/ 6681418 h 6684096"/>
              <a:gd name="connsiteX4" fmla="*/ 23061 w 5793721"/>
              <a:gd name="connsiteY4" fmla="*/ 3 h 6684096"/>
              <a:gd name="connsiteX0" fmla="*/ 23061 w 5792997"/>
              <a:gd name="connsiteY0" fmla="*/ 3 h 6695951"/>
              <a:gd name="connsiteX1" fmla="*/ 5792982 w 5792997"/>
              <a:gd name="connsiteY1" fmla="*/ 3466 h 6695951"/>
              <a:gd name="connsiteX2" fmla="*/ 3768058 w 5792997"/>
              <a:gd name="connsiteY2" fmla="*/ 6695951 h 6695951"/>
              <a:gd name="connsiteX3" fmla="*/ 1308 w 5792997"/>
              <a:gd name="connsiteY3" fmla="*/ 6681418 h 6695951"/>
              <a:gd name="connsiteX4" fmla="*/ 23061 w 5792997"/>
              <a:gd name="connsiteY4" fmla="*/ 3 h 6695951"/>
              <a:gd name="connsiteX0" fmla="*/ 23061 w 5792981"/>
              <a:gd name="connsiteY0" fmla="*/ 3 h 6695951"/>
              <a:gd name="connsiteX1" fmla="*/ 5792982 w 5792981"/>
              <a:gd name="connsiteY1" fmla="*/ 3466 h 6695951"/>
              <a:gd name="connsiteX2" fmla="*/ 3768058 w 5792981"/>
              <a:gd name="connsiteY2" fmla="*/ 6695951 h 6695951"/>
              <a:gd name="connsiteX3" fmla="*/ 1308 w 5792981"/>
              <a:gd name="connsiteY3" fmla="*/ 6681418 h 6695951"/>
              <a:gd name="connsiteX4" fmla="*/ 23061 w 5792981"/>
              <a:gd name="connsiteY4" fmla="*/ 3 h 6695951"/>
              <a:gd name="connsiteX0" fmla="*/ 23061 w 5792983"/>
              <a:gd name="connsiteY0" fmla="*/ 3 h 6695951"/>
              <a:gd name="connsiteX1" fmla="*/ 5792982 w 5792983"/>
              <a:gd name="connsiteY1" fmla="*/ 3466 h 6695951"/>
              <a:gd name="connsiteX2" fmla="*/ 3716984 w 5792983"/>
              <a:gd name="connsiteY2" fmla="*/ 6695951 h 6695951"/>
              <a:gd name="connsiteX3" fmla="*/ 1308 w 5792983"/>
              <a:gd name="connsiteY3" fmla="*/ 6681418 h 6695951"/>
              <a:gd name="connsiteX4" fmla="*/ 23061 w 5792983"/>
              <a:gd name="connsiteY4" fmla="*/ 3 h 6695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2983" h="6695951">
                <a:moveTo>
                  <a:pt x="23061" y="3"/>
                </a:moveTo>
                <a:cubicBezTo>
                  <a:pt x="17893" y="1157"/>
                  <a:pt x="3923778" y="2312"/>
                  <a:pt x="5792982" y="3466"/>
                </a:cubicBezTo>
                <a:lnTo>
                  <a:pt x="3716984" y="6695951"/>
                </a:lnTo>
                <a:cubicBezTo>
                  <a:pt x="3716453" y="6691380"/>
                  <a:pt x="-9679" y="6689244"/>
                  <a:pt x="1308" y="6681418"/>
                </a:cubicBezTo>
                <a:cubicBezTo>
                  <a:pt x="-7155" y="6701196"/>
                  <a:pt x="28454" y="-5634"/>
                  <a:pt x="23061" y="3"/>
                </a:cubicBezTo>
                <a:close/>
              </a:path>
            </a:pathLst>
          </a:custGeom>
        </p:spPr>
        <p:txBody>
          <a:bodyPr tIns="1188000" anchor="t" anchorCtr="0">
            <a:normAutofit/>
          </a:bodyPr>
          <a:lstStyle>
            <a:lvl1pPr marL="0" indent="0" algn="ctr">
              <a:buNone/>
              <a:defRPr sz="833">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0" name="Text Placeholder 9"/>
          <p:cNvSpPr>
            <a:spLocks noGrp="1"/>
          </p:cNvSpPr>
          <p:nvPr>
            <p:ph type="body" sz="quarter" idx="15"/>
          </p:nvPr>
        </p:nvSpPr>
        <p:spPr>
          <a:xfrm>
            <a:off x="2726923" y="1791597"/>
            <a:ext cx="3888432" cy="6716843"/>
          </a:xfrm>
        </p:spPr>
        <p:txBody>
          <a:bodyPr>
            <a:normAutofit/>
          </a:bodyPr>
          <a:lstStyle>
            <a:lvl1pPr marL="0" indent="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9005" indent="-187665">
              <a:defRPr sz="1042"/>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p:cNvSpPr>
            <a:spLocks noGrp="1"/>
          </p:cNvSpPr>
          <p:nvPr>
            <p:ph type="sldNum" sz="quarter" idx="16"/>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418833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76946" y="4025909"/>
            <a:ext cx="6102678" cy="1076408"/>
          </a:xfrm>
          <a:prstGeom prst="rect">
            <a:avLst/>
          </a:prstGeom>
        </p:spPr>
        <p:txBody>
          <a:bodyPr vert="horz" lIns="0" tIns="0" rIns="0" bIns="0" rtlCol="0" anchor="ctr" anchorCtr="0">
            <a:normAutofit/>
          </a:bodyPr>
          <a:lstStyle>
            <a:lvl1pPr algn="ctr" rtl="0">
              <a:defRPr b="1">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362768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4116964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4208400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
        <p:nvSpPr>
          <p:cNvPr id="7" name="TextBox 6"/>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258669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34646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76945" y="4025900"/>
            <a:ext cx="6102678" cy="1076408"/>
          </a:xfrm>
          <a:prstGeom prst="rect">
            <a:avLst/>
          </a:prstGeom>
        </p:spPr>
        <p:txBody>
          <a:bodyPr vert="horz" lIns="0" tIns="0" rIns="0" bIns="0" rtlCol="0" anchor="ctr" anchorCtr="0">
            <a:normAutofit/>
          </a:bodyPr>
          <a:lstStyle>
            <a:lvl1pPr algn="ctr" rtl="0">
              <a:defRPr b="1">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t> Offshore Mining and Civil  / </a:t>
            </a:r>
            <a:fld id="{CFD780AD-5876-4BCA-80DC-E96648A7269F}" type="slidenum">
              <a:rPr lang="en-AU" smtClean="0"/>
              <a:pPr/>
              <a:t>‹#›</a:t>
            </a:fld>
            <a:endParaRPr lang="en-AU" dirty="0"/>
          </a:p>
        </p:txBody>
      </p:sp>
    </p:spTree>
    <p:extLst>
      <p:ext uri="{BB962C8B-B14F-4D97-AF65-F5344CB8AC3E}">
        <p14:creationId xmlns:p14="http://schemas.microsoft.com/office/powerpoint/2010/main" val="49402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1" y="1128185"/>
            <a:ext cx="3887949"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5"/>
            <a:ext cx="4239090" cy="8051371"/>
          </a:xfrm>
          <a:prstGeom prst="rect">
            <a:avLst/>
          </a:prstGeom>
        </p:spPr>
      </p:pic>
      <p:sp>
        <p:nvSpPr>
          <p:cNvPr id="6" name="Slide Number Placeholder 1"/>
          <p:cNvSpPr>
            <a:spLocks noGrp="1"/>
          </p:cNvSpPr>
          <p:nvPr>
            <p:ph type="sldNum" sz="quarter" idx="10"/>
          </p:nvPr>
        </p:nvSpPr>
        <p:spPr>
          <a:xfrm>
            <a:off x="5481228" y="8700464"/>
            <a:ext cx="1134126" cy="261509"/>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3312850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2">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98381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dvisian gold background 2">
    <p:bg>
      <p:bgPr>
        <a:solidFill>
          <a:srgbClr val="85714D"/>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6" y="1128185"/>
            <a:ext cx="3131864" cy="6996211"/>
          </a:xfrm>
        </p:spPr>
        <p:txBody>
          <a:bodyPr anchor="ctr"/>
          <a:lstStyle>
            <a:lvl1pPr>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93904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dvisian blue background 2">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0" y="1128185"/>
            <a:ext cx="3132000"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
        <p:nvSpPr>
          <p:cNvPr id="7" name="TextBox 6"/>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4231926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dvisian pink background 2">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903724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dvisian light blue background 2">
    <p:bg>
      <p:bgPr>
        <a:solidFill>
          <a:srgbClr val="00AEEF"/>
        </a:solidFill>
        <a:effectLst/>
      </p:bgPr>
    </p:bg>
    <p:spTree>
      <p:nvGrpSpPr>
        <p:cNvPr id="1" name=""/>
        <p:cNvGrpSpPr/>
        <p:nvPr/>
      </p:nvGrpSpPr>
      <p:grpSpPr>
        <a:xfrm>
          <a:off x="0" y="0"/>
          <a:ext cx="0" cy="0"/>
          <a:chOff x="0" y="0"/>
          <a:chExt cx="0" cy="0"/>
        </a:xfrm>
      </p:grpSpPr>
      <p:sp>
        <p:nvSpPr>
          <p:cNvPr id="4" name="Title 5"/>
          <p:cNvSpPr>
            <a:spLocks noGrp="1"/>
          </p:cNvSpPr>
          <p:nvPr>
            <p:ph type="title"/>
          </p:nvPr>
        </p:nvSpPr>
        <p:spPr>
          <a:xfrm>
            <a:off x="513166" y="1128185"/>
            <a:ext cx="3131864"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201" r="43635"/>
          <a:stretch/>
        </p:blipFill>
        <p:spPr>
          <a:xfrm>
            <a:off x="3683297" y="0"/>
            <a:ext cx="3174705" cy="8028384"/>
          </a:xfrm>
          <a:prstGeom prst="rect">
            <a:avLst/>
          </a:prstGeom>
        </p:spPr>
      </p:pic>
      <p:sp>
        <p:nvSpPr>
          <p:cNvPr id="6" name="Slide Number Placeholder 1"/>
          <p:cNvSpPr>
            <a:spLocks noGrp="1"/>
          </p:cNvSpPr>
          <p:nvPr>
            <p:ph type="sldNum" sz="quarter" idx="10"/>
          </p:nvPr>
        </p:nvSpPr>
        <p:spPr>
          <a:xfrm>
            <a:off x="5481228" y="8700464"/>
            <a:ext cx="1134126" cy="261509"/>
          </a:xfrm>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3490085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1">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9" name="Picture Placeholder 18"/>
          <p:cNvSpPr>
            <a:spLocks noGrp="1"/>
          </p:cNvSpPr>
          <p:nvPr>
            <p:ph type="pic" sz="quarter" idx="14"/>
          </p:nvPr>
        </p:nvSpPr>
        <p:spPr>
          <a:xfrm>
            <a:off x="242647" y="461902"/>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08073" y="750861"/>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08080" y="15331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8037" y="1710973"/>
            <a:ext cx="2430308" cy="1824203"/>
          </a:xfrm>
        </p:spPr>
        <p:txBody>
          <a:bodyPr>
            <a:noAutofit/>
          </a:bodyPr>
          <a:lstStyle>
            <a:lvl1pPr marL="0" indent="0" rtl="0">
              <a:spcAft>
                <a:spcPts val="0"/>
              </a:spcAft>
              <a:buFont typeface="Arial" panose="020B0604020202020204" pitchFamily="34" charset="0"/>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337299" indent="-148808">
              <a:spcAft>
                <a:spcPts val="0"/>
              </a:spcAft>
              <a:buFont typeface="Arial" panose="020B0604020202020204" pitchFamily="34" charset="0"/>
              <a:buChar char="•"/>
              <a:defRPr sz="729">
                <a:solidFill>
                  <a:schemeClr val="bg1"/>
                </a:solidFill>
              </a:defRPr>
            </a:lvl2pPr>
            <a:lvl3pPr marL="483629" indent="-148808">
              <a:spcAft>
                <a:spcPts val="0"/>
              </a:spcAft>
              <a:buFont typeface="Arial" panose="020B0604020202020204" pitchFamily="34" charset="0"/>
              <a:buChar char="•"/>
              <a:defRPr sz="729">
                <a:solidFill>
                  <a:schemeClr val="bg1"/>
                </a:solidFill>
              </a:defRPr>
            </a:lvl3pPr>
            <a:lvl4pPr marL="619211" indent="-148808">
              <a:spcAft>
                <a:spcPts val="0"/>
              </a:spcAft>
              <a:buFont typeface="Arial" panose="020B0604020202020204" pitchFamily="34" charset="0"/>
              <a:buChar char="•"/>
              <a:defRPr sz="729">
                <a:solidFill>
                  <a:schemeClr val="bg1"/>
                </a:solidFill>
              </a:defRPr>
            </a:lvl4pPr>
            <a:lvl5pPr marL="760578" indent="-148808">
              <a:spcAft>
                <a:spcPts val="0"/>
              </a:spcAft>
              <a:buFont typeface="Arial" panose="020B0604020202020204" pitchFamily="34" charset="0"/>
              <a:buChar char="•"/>
              <a:defRPr sz="729">
                <a:solidFill>
                  <a:schemeClr val="bg1"/>
                </a:solidFill>
              </a:defRPr>
            </a:lvl5pPr>
          </a:lstStyle>
          <a:p>
            <a:pPr lvl="0"/>
            <a:r>
              <a:rPr lang="en-US"/>
              <a:t>Click to edit Master text styles</a:t>
            </a:r>
          </a:p>
        </p:txBody>
      </p:sp>
      <p:sp>
        <p:nvSpPr>
          <p:cNvPr id="10" name="TextBox 9"/>
          <p:cNvSpPr txBox="1"/>
          <p:nvPr userDrawn="1"/>
        </p:nvSpPr>
        <p:spPr>
          <a:xfrm>
            <a:off x="6939440" y="1"/>
            <a:ext cx="2090262" cy="513154"/>
          </a:xfrm>
          <a:prstGeom prst="rect">
            <a:avLst/>
          </a:prstGeom>
          <a:solidFill>
            <a:schemeClr val="accent2"/>
          </a:solidFill>
        </p:spPr>
        <p:txBody>
          <a:bodyPr wrap="square" rtlCol="0">
            <a:spAutoFit/>
          </a:bodyPr>
          <a:lstStyle/>
          <a:p>
            <a:r>
              <a:rPr lang="en-AU" sz="625" b="1" dirty="0">
                <a:solidFill>
                  <a:srgbClr val="FFFFFF"/>
                </a:solidFill>
              </a:rPr>
              <a:t>TIP! </a:t>
            </a:r>
          </a:p>
          <a:p>
            <a:endParaRPr lang="en-AU" sz="547" b="1" dirty="0">
              <a:solidFill>
                <a:srgbClr val="FFFFFF"/>
              </a:solidFill>
            </a:endParaRPr>
          </a:p>
          <a:p>
            <a:r>
              <a:rPr lang="en-AU" sz="521" b="1" dirty="0">
                <a:solidFill>
                  <a:srgbClr val="00AEEF"/>
                </a:solidFill>
              </a:rPr>
              <a:t>RIGHT CLICK </a:t>
            </a:r>
            <a:r>
              <a:rPr lang="en-AU" sz="521" dirty="0">
                <a:solidFill>
                  <a:srgbClr val="FFFFFF"/>
                </a:solidFill>
              </a:rPr>
              <a:t>on the preview slide on the left hand side of your screen, and go to </a:t>
            </a:r>
            <a:r>
              <a:rPr lang="en-AU" sz="521" b="1" dirty="0">
                <a:solidFill>
                  <a:srgbClr val="00AEEF"/>
                </a:solidFill>
              </a:rPr>
              <a:t>LAYOUT</a:t>
            </a:r>
            <a:r>
              <a:rPr lang="en-AU" sz="521" dirty="0">
                <a:solidFill>
                  <a:srgbClr val="FFFFFF"/>
                </a:solidFill>
              </a:rPr>
              <a:t> to reveal more colour options and layouts. </a:t>
            </a:r>
          </a:p>
        </p:txBody>
      </p:sp>
    </p:spTree>
    <p:extLst>
      <p:ext uri="{BB962C8B-B14F-4D97-AF65-F5344CB8AC3E}">
        <p14:creationId xmlns:p14="http://schemas.microsoft.com/office/powerpoint/2010/main" val="381299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2">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a:off x="296653" y="5436101"/>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462080" y="5723245"/>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462083" y="6492213"/>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62043" y="6683349"/>
            <a:ext cx="2430308" cy="1824203"/>
          </a:xfrm>
        </p:spPr>
        <p:txBody>
          <a:bodyPr>
            <a:noAutofit/>
          </a:bodyPr>
          <a:lstStyle>
            <a:lvl1pPr marL="0" indent="0" rtl="0">
              <a:spcAft>
                <a:spcPts val="0"/>
              </a:spcAft>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4210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3">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a:off x="3126430" y="443549"/>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ctr">
              <a:buNone/>
              <a:defRPr sz="100">
                <a:solidFill>
                  <a:schemeClr val="tx2"/>
                </a:solidFill>
              </a:defRPr>
            </a:lvl1pPr>
          </a:lstStyle>
          <a:p>
            <a:r>
              <a:rPr lang="en-US" dirty="0"/>
              <a:t>Click icon to add picture</a:t>
            </a:r>
            <a:endParaRPr lang="en-AU" dirty="0"/>
          </a:p>
        </p:txBody>
      </p:sp>
      <p:sp>
        <p:nvSpPr>
          <p:cNvPr id="2" name="Title 1"/>
          <p:cNvSpPr>
            <a:spLocks noGrp="1"/>
          </p:cNvSpPr>
          <p:nvPr>
            <p:ph type="title"/>
          </p:nvPr>
        </p:nvSpPr>
        <p:spPr>
          <a:xfrm>
            <a:off x="3707123" y="635573"/>
            <a:ext cx="2916324"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07144" y="1404541"/>
            <a:ext cx="296643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23067" y="1595677"/>
            <a:ext cx="2430308" cy="1824203"/>
          </a:xfrm>
        </p:spPr>
        <p:txBody>
          <a:bodyPr>
            <a:noAutofit/>
          </a:bodyPr>
          <a:lstStyle>
            <a:lvl1pPr marL="0" indent="0" rtl="0">
              <a:spcAft>
                <a:spcPts val="0"/>
              </a:spcAft>
              <a:buNone/>
              <a:defRPr sz="729">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4852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dvisian full image with quote v4">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6858000" cy="9144000"/>
          </a:xfrm>
        </p:spPr>
        <p:txBody>
          <a:bodyPr anchor="ctr">
            <a:normAutofit/>
          </a:bodyPr>
          <a:lstStyle>
            <a:lvl1pPr marL="0" indent="0" algn="ctr" rtl="0">
              <a:buNone/>
              <a:defRPr sz="833" b="1">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7" name="Picture Placeholder 18"/>
          <p:cNvSpPr>
            <a:spLocks noGrp="1"/>
          </p:cNvSpPr>
          <p:nvPr>
            <p:ph type="pic" sz="quarter" idx="15"/>
          </p:nvPr>
        </p:nvSpPr>
        <p:spPr>
          <a:xfrm flipH="1" flipV="1">
            <a:off x="3122230" y="5506157"/>
            <a:ext cx="3497018" cy="3194311"/>
          </a:xfrm>
          <a:custGeom>
            <a:avLst/>
            <a:gdLst>
              <a:gd name="connsiteX0" fmla="*/ 0 w 4655902"/>
              <a:gd name="connsiteY0" fmla="*/ 2395733 h 2395733"/>
              <a:gd name="connsiteX1" fmla="*/ 1041569 w 4655902"/>
              <a:gd name="connsiteY1" fmla="*/ 0 h 2395733"/>
              <a:gd name="connsiteX2" fmla="*/ 4655902 w 4655902"/>
              <a:gd name="connsiteY2" fmla="*/ 0 h 2395733"/>
              <a:gd name="connsiteX3" fmla="*/ 3614333 w 4655902"/>
              <a:gd name="connsiteY3" fmla="*/ 2395733 h 2395733"/>
              <a:gd name="connsiteX4" fmla="*/ 0 w 4655902"/>
              <a:gd name="connsiteY4" fmla="*/ 2395733 h 2395733"/>
              <a:gd name="connsiteX0" fmla="*/ 6788 w 4662690"/>
              <a:gd name="connsiteY0" fmla="*/ 2395733 h 2395733"/>
              <a:gd name="connsiteX1" fmla="*/ 0 w 4662690"/>
              <a:gd name="connsiteY1" fmla="*/ 0 h 2395733"/>
              <a:gd name="connsiteX2" fmla="*/ 4662690 w 4662690"/>
              <a:gd name="connsiteY2" fmla="*/ 0 h 2395733"/>
              <a:gd name="connsiteX3" fmla="*/ 3621121 w 4662690"/>
              <a:gd name="connsiteY3" fmla="*/ 2395733 h 2395733"/>
              <a:gd name="connsiteX4" fmla="*/ 6788 w 4662690"/>
              <a:gd name="connsiteY4" fmla="*/ 2395733 h 239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2690" h="2395733">
                <a:moveTo>
                  <a:pt x="6788" y="2395733"/>
                </a:moveTo>
                <a:cubicBezTo>
                  <a:pt x="4525" y="1597155"/>
                  <a:pt x="2263" y="798578"/>
                  <a:pt x="0" y="0"/>
                </a:cubicBezTo>
                <a:lnTo>
                  <a:pt x="4662690" y="0"/>
                </a:lnTo>
                <a:lnTo>
                  <a:pt x="3621121" y="2395733"/>
                </a:lnTo>
                <a:lnTo>
                  <a:pt x="6788" y="2395733"/>
                </a:lnTo>
                <a:close/>
              </a:path>
            </a:pathLst>
          </a:custGeom>
          <a:solidFill>
            <a:srgbClr val="162934">
              <a:alpha val="69804"/>
            </a:srgbClr>
          </a:solidFill>
        </p:spPr>
        <p:txBody>
          <a:bodyPr>
            <a:normAutofit/>
          </a:bodyPr>
          <a:lstStyle>
            <a:lvl1pPr marL="0" indent="0" algn="l" rtl="0">
              <a:buNone/>
              <a:defRPr sz="10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2" name="Title 1"/>
          <p:cNvSpPr>
            <a:spLocks noGrp="1"/>
          </p:cNvSpPr>
          <p:nvPr>
            <p:ph type="title"/>
          </p:nvPr>
        </p:nvSpPr>
        <p:spPr>
          <a:xfrm>
            <a:off x="3957641" y="5698173"/>
            <a:ext cx="2661609" cy="672075"/>
          </a:xfrm>
        </p:spPr>
        <p:txBody>
          <a:bodyPr>
            <a:noAutofit/>
          </a:bodyPr>
          <a:lstStyle>
            <a:lvl1pPr rtl="0">
              <a:defRPr sz="1042"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cxnSp>
        <p:nvCxnSpPr>
          <p:cNvPr id="8" name="Straight Connector 7"/>
          <p:cNvCxnSpPr/>
          <p:nvPr userDrawn="1"/>
        </p:nvCxnSpPr>
        <p:spPr>
          <a:xfrm>
            <a:off x="3748836" y="6467149"/>
            <a:ext cx="2920524"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018867" y="6658285"/>
            <a:ext cx="2430308" cy="1824203"/>
          </a:xfrm>
        </p:spPr>
        <p:txBody>
          <a:bodyPr>
            <a:noAutofit/>
          </a:bodyPr>
          <a:lstStyle>
            <a:lvl1pPr marL="0" indent="0">
              <a:spcAft>
                <a:spcPts val="0"/>
              </a:spcAft>
              <a:buNone/>
              <a:defRPr sz="729">
                <a:solidFill>
                  <a:schemeClr val="bg1"/>
                </a:solidFill>
              </a:defRPr>
            </a:lvl1pPr>
            <a:lvl2pPr marL="188492" indent="0">
              <a:spcAft>
                <a:spcPts val="0"/>
              </a:spcAft>
              <a:buNone/>
              <a:defRPr sz="729">
                <a:solidFill>
                  <a:schemeClr val="bg1"/>
                </a:solidFill>
              </a:defRPr>
            </a:lvl2pPr>
            <a:lvl3pPr marL="334820" indent="0">
              <a:spcAft>
                <a:spcPts val="0"/>
              </a:spcAft>
              <a:buNone/>
              <a:defRPr sz="729">
                <a:solidFill>
                  <a:schemeClr val="bg1"/>
                </a:solidFill>
              </a:defRPr>
            </a:lvl3pPr>
            <a:lvl4pPr marL="470400" indent="0">
              <a:spcAft>
                <a:spcPts val="0"/>
              </a:spcAft>
              <a:buNone/>
              <a:defRPr sz="729">
                <a:solidFill>
                  <a:schemeClr val="bg1"/>
                </a:solidFill>
              </a:defRPr>
            </a:lvl4pPr>
            <a:lvl5pPr marL="611770" indent="0">
              <a:spcAft>
                <a:spcPts val="0"/>
              </a:spcAft>
              <a:buNone/>
              <a:defRPr sz="72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2900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dvisian charcoal background">
    <p:bg>
      <p:bgPr>
        <a:solidFill>
          <a:srgbClr val="17293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val="0"/>
              </a:ext>
            </a:extLst>
          </a:blip>
          <a:srcRect t="11949" r="24737"/>
          <a:stretch/>
        </p:blipFill>
        <p:spPr>
          <a:xfrm>
            <a:off x="2618910" y="1"/>
            <a:ext cx="4239090" cy="8051371"/>
          </a:xfrm>
          <a:prstGeom prst="rect">
            <a:avLst/>
          </a:prstGeom>
        </p:spPr>
      </p:pic>
      <p:sp>
        <p:nvSpPr>
          <p:cNvPr id="6" name="Title 5"/>
          <p:cNvSpPr>
            <a:spLocks noGrp="1"/>
          </p:cNvSpPr>
          <p:nvPr>
            <p:ph type="title"/>
          </p:nvPr>
        </p:nvSpPr>
        <p:spPr>
          <a:xfrm>
            <a:off x="513160" y="1128185"/>
            <a:ext cx="3887948" cy="6996211"/>
          </a:xfrm>
        </p:spPr>
        <p:txBody>
          <a:bodyPr anchor="ctr"/>
          <a:lstStyle>
            <a:lvl1pPr rtl="0">
              <a:defRPr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0"/>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prstClr val="white"/>
                </a:solidFill>
              </a:rPr>
              <a:t> Offshore Mining and Civil  / </a:t>
            </a:r>
            <a:fld id="{CFD780AD-5876-4BCA-80DC-E96648A7269F}"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28960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Advisian Title &amp; Contents">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lvl1pPr>
              <a:defRPr sz="1500">
                <a:solidFill>
                  <a:srgbClr val="85714D"/>
                </a:solidFill>
              </a:defRPr>
            </a:lvl1pPr>
          </a:lstStyle>
          <a:p>
            <a:r>
              <a:rPr lang="en-US" dirty="0"/>
              <a:t>Click to edit Master title style</a:t>
            </a:r>
            <a:endParaRPr lang="en-AU" dirty="0"/>
          </a:p>
        </p:txBody>
      </p:sp>
      <p:sp>
        <p:nvSpPr>
          <p:cNvPr id="8" name="Content Placeholder 7"/>
          <p:cNvSpPr>
            <a:spLocks noGrp="1"/>
          </p:cNvSpPr>
          <p:nvPr>
            <p:ph sz="quarter" idx="13"/>
          </p:nvPr>
        </p:nvSpPr>
        <p:spPr>
          <a:xfrm>
            <a:off x="350661" y="1689600"/>
            <a:ext cx="6318703" cy="6528000"/>
          </a:xfrm>
        </p:spPr>
        <p:txBody>
          <a:bodyPr/>
          <a:lstStyle>
            <a:lvl1pPr>
              <a:buClr>
                <a:srgbClr val="85714D"/>
              </a:buClr>
              <a:defRPr/>
            </a:lvl1pPr>
            <a:lvl2pPr>
              <a:buClr>
                <a:srgbClr val="85714D"/>
              </a:buClr>
              <a:defRPr/>
            </a:lvl2pPr>
            <a:lvl3pPr>
              <a:buClr>
                <a:srgbClr val="85714D"/>
              </a:buClr>
              <a:defRPr/>
            </a:lvl3pPr>
            <a:lvl4pPr>
              <a:buClr>
                <a:srgbClr val="85714D"/>
              </a:buClr>
              <a:defRPr/>
            </a:lvl4pPr>
            <a:lvl5pPr>
              <a:buClr>
                <a:srgbClr val="85714D"/>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Slide Number Placeholder 8"/>
          <p:cNvSpPr>
            <a:spLocks noGrp="1"/>
          </p:cNvSpPr>
          <p:nvPr>
            <p:ph type="sldNum" sz="quarter" idx="17"/>
          </p:nvPr>
        </p:nvSpPr>
        <p:spPr/>
        <p:txBody>
          <a:bodyPr/>
          <a:lstStyle/>
          <a:p>
            <a:r>
              <a:rPr lang="en-AU" dirty="0">
                <a:solidFill>
                  <a:srgbClr val="FFFFFF">
                    <a:lumMod val="50000"/>
                  </a:srgbClr>
                </a:solidFill>
              </a:rPr>
              <a:t> Offshore Mining and Civil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2243717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dirty="0"/>
              <a:t>Click to edit Master title style</a:t>
            </a:r>
          </a:p>
        </p:txBody>
      </p:sp>
      <p:sp>
        <p:nvSpPr>
          <p:cNvPr id="3" name="Rectangle 5"/>
          <p:cNvSpPr>
            <a:spLocks noGrp="1" noChangeArrowheads="1"/>
          </p:cNvSpPr>
          <p:nvPr>
            <p:ph type="sldNum" sz="quarter" idx="10"/>
          </p:nvPr>
        </p:nvSpPr>
        <p:spPr>
          <a:ln/>
        </p:spPr>
        <p:txBody>
          <a:bodyPr/>
          <a:lstStyle>
            <a:lvl1pPr>
              <a:defRPr/>
            </a:lvl1pPr>
          </a:lstStyle>
          <a:p>
            <a:pPr>
              <a:defRPr/>
            </a:pPr>
            <a:fld id="{ED6B66F1-1624-432A-86ED-F30EBCDCEC66}" type="slidenum">
              <a:rPr lang="en-US">
                <a:solidFill>
                  <a:srgbClr val="FFFFFF">
                    <a:lumMod val="50000"/>
                  </a:srgbClr>
                </a:solidFill>
              </a:rPr>
              <a:pPr>
                <a:defRPr/>
              </a:pPr>
              <a:t>‹#›</a:t>
            </a:fld>
            <a:endParaRPr lang="en-US" dirty="0">
              <a:solidFill>
                <a:srgbClr val="FFFFFF">
                  <a:lumMod val="50000"/>
                </a:srgbClr>
              </a:solidFill>
            </a:endParaRPr>
          </a:p>
        </p:txBody>
      </p:sp>
    </p:spTree>
    <p:extLst>
      <p:ext uri="{BB962C8B-B14F-4D97-AF65-F5344CB8AC3E}">
        <p14:creationId xmlns:p14="http://schemas.microsoft.com/office/powerpoint/2010/main" val="15222333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dvisian Cover white">
    <p:spTree>
      <p:nvGrpSpPr>
        <p:cNvPr id="1" name=""/>
        <p:cNvGrpSpPr/>
        <p:nvPr/>
      </p:nvGrpSpPr>
      <p:grpSpPr>
        <a:xfrm>
          <a:off x="0" y="0"/>
          <a:ext cx="0" cy="0"/>
          <a:chOff x="0" y="0"/>
          <a:chExt cx="0" cy="0"/>
        </a:xfrm>
      </p:grpSpPr>
      <p:sp>
        <p:nvSpPr>
          <p:cNvPr id="10" name="Freeform 9"/>
          <p:cNvSpPr/>
          <p:nvPr userDrawn="1"/>
        </p:nvSpPr>
        <p:spPr>
          <a:xfrm>
            <a:off x="3080385" y="-30480"/>
            <a:ext cx="3794760" cy="7345680"/>
          </a:xfrm>
          <a:custGeom>
            <a:avLst/>
            <a:gdLst>
              <a:gd name="connsiteX0" fmla="*/ 0 w 5059680"/>
              <a:gd name="connsiteY0" fmla="*/ 7620 h 5509260"/>
              <a:gd name="connsiteX1" fmla="*/ 2095500 w 5059680"/>
              <a:gd name="connsiteY1" fmla="*/ 5509260 h 5509260"/>
              <a:gd name="connsiteX2" fmla="*/ 5059680 w 5059680"/>
              <a:gd name="connsiteY2" fmla="*/ 5509260 h 5509260"/>
              <a:gd name="connsiteX3" fmla="*/ 5059680 w 5059680"/>
              <a:gd name="connsiteY3" fmla="*/ 0 h 5509260"/>
              <a:gd name="connsiteX4" fmla="*/ 0 w 5059680"/>
              <a:gd name="connsiteY4" fmla="*/ 7620 h 5509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9680" h="5509260">
                <a:moveTo>
                  <a:pt x="0" y="7620"/>
                </a:moveTo>
                <a:lnTo>
                  <a:pt x="2095500" y="5509260"/>
                </a:lnTo>
                <a:lnTo>
                  <a:pt x="5059680" y="5509260"/>
                </a:lnTo>
                <a:lnTo>
                  <a:pt x="5059680" y="0"/>
                </a:lnTo>
                <a:lnTo>
                  <a:pt x="0" y="762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13" name="Parallelogram 10"/>
          <p:cNvSpPr/>
          <p:nvPr userDrawn="1"/>
        </p:nvSpPr>
        <p:spPr>
          <a:xfrm>
            <a:off x="0" y="921328"/>
            <a:ext cx="5696472" cy="8222677"/>
          </a:xfrm>
          <a:custGeom>
            <a:avLst/>
            <a:gdLst/>
            <a:ahLst/>
            <a:cxnLst/>
            <a:rect l="l" t="t" r="r" b="b"/>
            <a:pathLst>
              <a:path w="7595296" h="6167008">
                <a:moveTo>
                  <a:pt x="979814" y="0"/>
                </a:moveTo>
                <a:lnTo>
                  <a:pt x="7595296" y="0"/>
                </a:lnTo>
                <a:lnTo>
                  <a:pt x="4949095" y="6167008"/>
                </a:lnTo>
                <a:lnTo>
                  <a:pt x="4805101" y="6167008"/>
                </a:lnTo>
                <a:lnTo>
                  <a:pt x="7389158" y="144828"/>
                </a:lnTo>
                <a:lnTo>
                  <a:pt x="1086113" y="144828"/>
                </a:lnTo>
                <a:lnTo>
                  <a:pt x="0" y="2676029"/>
                </a:lnTo>
                <a:lnTo>
                  <a:pt x="0" y="228347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pic>
        <p:nvPicPr>
          <p:cNvPr id="18"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59708" y="7776864"/>
            <a:ext cx="1350150" cy="827589"/>
          </a:xfrm>
          <a:prstGeom prst="rect">
            <a:avLst/>
          </a:prstGeom>
        </p:spPr>
      </p:pic>
      <p:sp>
        <p:nvSpPr>
          <p:cNvPr id="20" name="Date Placeholder 3"/>
          <p:cNvSpPr txBox="1">
            <a:spLocks/>
          </p:cNvSpPr>
          <p:nvPr userDrawn="1"/>
        </p:nvSpPr>
        <p:spPr>
          <a:xfrm>
            <a:off x="620316" y="8368795"/>
            <a:ext cx="952128" cy="288032"/>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521" dirty="0">
                <a:solidFill>
                  <a:srgbClr val="000000"/>
                </a:solidFill>
                <a:ea typeface="Segoe UI" panose="020B0502040204020203" pitchFamily="34" charset="0"/>
                <a:cs typeface="Segoe UI" panose="020B0502040204020203" pitchFamily="34" charset="0"/>
              </a:rPr>
              <a:t>www.</a:t>
            </a:r>
            <a:r>
              <a:rPr lang="en-AU" sz="521" b="1" dirty="0">
                <a:solidFill>
                  <a:srgbClr val="000000"/>
                </a:solidFill>
                <a:ea typeface="Segoe UI" panose="020B0502040204020203" pitchFamily="34" charset="0"/>
                <a:cs typeface="Segoe UI" panose="020B0502040204020203" pitchFamily="34" charset="0"/>
              </a:rPr>
              <a:t>Offshore Mining and Civil</a:t>
            </a:r>
            <a:r>
              <a:rPr lang="en-AU" sz="521" dirty="0">
                <a:solidFill>
                  <a:srgbClr val="000000"/>
                </a:solidFill>
                <a:ea typeface="Segoe UI" panose="020B0502040204020203" pitchFamily="34" charset="0"/>
                <a:cs typeface="Segoe UI" panose="020B0502040204020203" pitchFamily="34" charset="0"/>
              </a:rPr>
              <a:t>.com</a:t>
            </a:r>
          </a:p>
        </p:txBody>
      </p:sp>
      <p:sp>
        <p:nvSpPr>
          <p:cNvPr id="3" name="Title 2"/>
          <p:cNvSpPr>
            <a:spLocks noGrp="1"/>
          </p:cNvSpPr>
          <p:nvPr>
            <p:ph type="title"/>
          </p:nvPr>
        </p:nvSpPr>
        <p:spPr>
          <a:xfrm>
            <a:off x="620319" y="2873720"/>
            <a:ext cx="2992859" cy="1990389"/>
          </a:xfrm>
        </p:spPr>
        <p:txBody>
          <a:bodyPr/>
          <a:lstStyle>
            <a:lvl1pPr rtl="0">
              <a:defRPr/>
            </a:lvl1pPr>
          </a:lstStyle>
          <a:p>
            <a:r>
              <a:rPr lang="en-US"/>
              <a:t>Click to edit Master title style</a:t>
            </a:r>
            <a:endParaRPr lang="en-AU" dirty="0"/>
          </a:p>
        </p:txBody>
      </p:sp>
      <p:sp>
        <p:nvSpPr>
          <p:cNvPr id="6" name="Text Placeholder 5"/>
          <p:cNvSpPr>
            <a:spLocks noGrp="1"/>
          </p:cNvSpPr>
          <p:nvPr>
            <p:ph type="body" sz="quarter" idx="10"/>
          </p:nvPr>
        </p:nvSpPr>
        <p:spPr>
          <a:xfrm>
            <a:off x="620319" y="5080008"/>
            <a:ext cx="3022997" cy="524933"/>
          </a:xfrm>
        </p:spPr>
        <p:txBody>
          <a:bodyPr>
            <a:noAutofit/>
          </a:bodyPr>
          <a:lstStyle>
            <a:lvl1pPr rtl="0">
              <a:spcAft>
                <a:spcPts val="0"/>
              </a:spcAft>
              <a:defRPr sz="938"/>
            </a:lvl1pPr>
            <a:lvl2pPr>
              <a:defRPr sz="938"/>
            </a:lvl2pPr>
            <a:lvl3pPr>
              <a:defRPr sz="938"/>
            </a:lvl3pPr>
            <a:lvl4pPr>
              <a:defRPr sz="938"/>
            </a:lvl4pPr>
            <a:lvl5pPr>
              <a:defRPr sz="938"/>
            </a:lvl5pPr>
          </a:lstStyle>
          <a:p>
            <a:pPr lvl="0"/>
            <a:r>
              <a:rPr lang="en-US"/>
              <a:t>Click to edit Master text styles</a:t>
            </a:r>
          </a:p>
        </p:txBody>
      </p:sp>
      <p:sp>
        <p:nvSpPr>
          <p:cNvPr id="8" name="Text Placeholder 7"/>
          <p:cNvSpPr>
            <a:spLocks noGrp="1"/>
          </p:cNvSpPr>
          <p:nvPr>
            <p:ph type="body" sz="quarter" idx="11"/>
          </p:nvPr>
        </p:nvSpPr>
        <p:spPr>
          <a:xfrm>
            <a:off x="620319" y="6487649"/>
            <a:ext cx="3044429" cy="711200"/>
          </a:xfrm>
        </p:spPr>
        <p:txBody>
          <a:bodyPr>
            <a:noAutofit/>
          </a:bodyPr>
          <a:lstStyle>
            <a:lvl1pPr marL="0" indent="0" rtl="0">
              <a:spcAft>
                <a:spcPts val="0"/>
              </a:spcAft>
              <a:buFont typeface="Arial" panose="020B0604020202020204" pitchFamily="34" charset="0"/>
              <a:buNone/>
              <a:defRPr sz="521"/>
            </a:lvl1pPr>
            <a:lvl2pPr marL="0" indent="0">
              <a:buNone/>
              <a:defRPr sz="521"/>
            </a:lvl2pPr>
            <a:lvl3pPr marL="186838" indent="0">
              <a:buNone/>
              <a:defRPr sz="521"/>
            </a:lvl3pPr>
            <a:lvl4pPr marL="372849" indent="0">
              <a:buNone/>
              <a:defRPr sz="521"/>
            </a:lvl4pPr>
            <a:lvl5pPr marL="559687" indent="0">
              <a:buNone/>
              <a:defRPr sz="521"/>
            </a:lvl5pPr>
          </a:lstStyle>
          <a:p>
            <a:pPr lvl="0"/>
            <a:r>
              <a:rPr lang="en-US"/>
              <a:t>Click to edit Master text styles</a:t>
            </a:r>
          </a:p>
        </p:txBody>
      </p:sp>
      <p:grpSp>
        <p:nvGrpSpPr>
          <p:cNvPr id="11" name="Group 10"/>
          <p:cNvGrpSpPr/>
          <p:nvPr userDrawn="1"/>
        </p:nvGrpSpPr>
        <p:grpSpPr>
          <a:xfrm>
            <a:off x="6939441" y="26"/>
            <a:ext cx="2557463" cy="8863937"/>
            <a:chOff x="9252585" y="0"/>
            <a:chExt cx="3409950" cy="6647953"/>
          </a:xfrm>
        </p:grpSpPr>
        <p:sp>
          <p:nvSpPr>
            <p:cNvPr id="12" name="TextBox 11"/>
            <p:cNvSpPr txBox="1"/>
            <p:nvPr userDrawn="1"/>
          </p:nvSpPr>
          <p:spPr>
            <a:xfrm>
              <a:off x="9252585" y="0"/>
              <a:ext cx="3409950" cy="2533867"/>
            </a:xfrm>
            <a:prstGeom prst="rect">
              <a:avLst/>
            </a:prstGeom>
            <a:solidFill>
              <a:schemeClr val="accent2"/>
            </a:solidFill>
          </p:spPr>
          <p:txBody>
            <a:bodyPr wrap="square" rtlCol="0">
              <a:spAutoFit/>
            </a:bodyPr>
            <a:lstStyle/>
            <a:p>
              <a:r>
                <a:rPr lang="en-AU" sz="625" b="1" dirty="0">
                  <a:solidFill>
                    <a:srgbClr val="FFFFFF"/>
                  </a:solidFill>
                </a:rPr>
                <a:t>INSTRUCTIONS FOR CHANGING </a:t>
              </a:r>
              <a:br>
                <a:rPr lang="en-AU" sz="625" b="1" dirty="0">
                  <a:solidFill>
                    <a:srgbClr val="FFFFFF"/>
                  </a:solidFill>
                </a:rPr>
              </a:br>
              <a:r>
                <a:rPr lang="en-AU" sz="625" b="1" dirty="0">
                  <a:solidFill>
                    <a:srgbClr val="FFFFFF"/>
                  </a:solidFill>
                </a:rPr>
                <a:t>COVER IMAGES:</a:t>
              </a:r>
            </a:p>
            <a:p>
              <a:pPr marL="148808" indent="-148808">
                <a:buFont typeface="Arial" panose="020B0604020202020204" pitchFamily="34" charset="0"/>
                <a:buChar char="•"/>
              </a:pPr>
              <a:endParaRPr lang="en-AU" sz="521" dirty="0">
                <a:solidFill>
                  <a:srgbClr val="FFFFFF"/>
                </a:solidFill>
                <a:latin typeface="Segoe UI Semibold" panose="020B0702040204020203" pitchFamily="34" charset="0"/>
              </a:endParaRPr>
            </a:p>
            <a:p>
              <a:pPr marL="148808" indent="-148808">
                <a:buFont typeface="+mj-lt"/>
                <a:buAutoNum type="arabicPeriod"/>
              </a:pPr>
              <a:r>
                <a:rPr lang="en-AU" sz="521" dirty="0">
                  <a:solidFill>
                    <a:srgbClr val="FFFFFF"/>
                  </a:solidFill>
                  <a:latin typeface="Segoe UI Semibold" panose="020B0702040204020203" pitchFamily="34" charset="0"/>
                </a:rPr>
                <a:t>Select both images by holding down </a:t>
              </a:r>
              <a:br>
                <a:rPr lang="en-AU" sz="521" dirty="0">
                  <a:solidFill>
                    <a:srgbClr val="FFFFFF"/>
                  </a:solidFill>
                  <a:latin typeface="Segoe UI Semibold" panose="020B0702040204020203" pitchFamily="34" charset="0"/>
                </a:rPr>
              </a:br>
              <a:r>
                <a:rPr lang="en-AU" sz="521" dirty="0">
                  <a:solidFill>
                    <a:srgbClr val="FFFFFF"/>
                  </a:solidFill>
                  <a:latin typeface="Segoe UI Semibold" panose="020B0702040204020203" pitchFamily="34" charset="0"/>
                </a:rPr>
                <a:t>the ‘Ctrl’ button</a:t>
              </a:r>
            </a:p>
            <a:p>
              <a:pPr marL="148808" indent="-148808">
                <a:buFont typeface="+mj-lt"/>
                <a:buAutoNum type="arabicPeriod"/>
              </a:pPr>
              <a:r>
                <a:rPr lang="en-AU" sz="521" dirty="0">
                  <a:solidFill>
                    <a:srgbClr val="FFFFFF"/>
                  </a:solidFill>
                  <a:latin typeface="Segoe UI Semibold" panose="020B0702040204020203" pitchFamily="34" charset="0"/>
                </a:rPr>
                <a:t>Go to </a:t>
              </a:r>
              <a:r>
                <a:rPr lang="en-AU" sz="521" b="1" dirty="0">
                  <a:solidFill>
                    <a:srgbClr val="00AEEF"/>
                  </a:solidFill>
                </a:rPr>
                <a:t>DRAWING TOOLS</a:t>
              </a:r>
            </a:p>
            <a:p>
              <a:pPr marL="148808" indent="-148808">
                <a:buFont typeface="+mj-lt"/>
                <a:buAutoNum type="arabicPeriod"/>
              </a:pPr>
              <a:r>
                <a:rPr lang="en-AU" sz="521" dirty="0">
                  <a:solidFill>
                    <a:srgbClr val="FFFFFF"/>
                  </a:solidFill>
                  <a:latin typeface="Segoe UI Semibold" panose="020B0702040204020203" pitchFamily="34" charset="0"/>
                </a:rPr>
                <a:t>Click the arrow next to </a:t>
              </a:r>
              <a:r>
                <a:rPr lang="en-AU" sz="521" b="1" dirty="0">
                  <a:solidFill>
                    <a:srgbClr val="00AEEF"/>
                  </a:solidFill>
                </a:rPr>
                <a:t>SHAPE FILL</a:t>
              </a:r>
            </a:p>
            <a:p>
              <a:pPr marL="148808" indent="-148808">
                <a:buFont typeface="+mj-lt"/>
                <a:buAutoNum type="arabicPeriod"/>
              </a:pPr>
              <a:r>
                <a:rPr lang="en-AU" sz="521" dirty="0">
                  <a:solidFill>
                    <a:srgbClr val="FFFFFF"/>
                  </a:solidFill>
                  <a:latin typeface="Segoe UI Semibold" panose="020B0702040204020203" pitchFamily="34" charset="0"/>
                </a:rPr>
                <a:t>Click </a:t>
              </a:r>
              <a:r>
                <a:rPr lang="en-AU" sz="521" b="1" dirty="0">
                  <a:solidFill>
                    <a:srgbClr val="00AEEF"/>
                  </a:solidFill>
                </a:rPr>
                <a:t>PICTURE</a:t>
              </a:r>
            </a:p>
            <a:p>
              <a:pPr marL="148808" indent="-148808">
                <a:buFont typeface="+mj-lt"/>
                <a:buAutoNum type="arabicPeriod"/>
              </a:pPr>
              <a:r>
                <a:rPr lang="en-AU" sz="521" dirty="0">
                  <a:solidFill>
                    <a:srgbClr val="FFFFFF"/>
                  </a:solidFill>
                  <a:latin typeface="Segoe UI Semibold" panose="020B0702040204020203" pitchFamily="34" charset="0"/>
                </a:rPr>
                <a:t>Locate the folder that contains the picture you want to use and click </a:t>
              </a:r>
              <a:r>
                <a:rPr lang="en-AU" sz="521" b="1" dirty="0">
                  <a:solidFill>
                    <a:srgbClr val="00AEEF"/>
                  </a:solidFill>
                </a:rPr>
                <a:t>INSERT</a:t>
              </a: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a:buFont typeface="+mj-lt"/>
                <a:buNone/>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mj-lt"/>
                <a:buAutoNum type="arabicPeriod"/>
              </a:pPr>
              <a:endParaRPr lang="en-AU" sz="521" dirty="0">
                <a:solidFill>
                  <a:srgbClr val="FFFFFF"/>
                </a:solidFill>
                <a:latin typeface="Segoe UI Semibold" panose="020B0702040204020203" pitchFamily="34" charset="0"/>
              </a:endParaRPr>
            </a:p>
            <a:p>
              <a:pPr marL="148808" indent="-148808">
                <a:buFont typeface="Arial" panose="020B0604020202020204" pitchFamily="34" charset="0"/>
                <a:buChar char="•"/>
              </a:pPr>
              <a:endParaRPr lang="en-AU" sz="521" dirty="0">
                <a:solidFill>
                  <a:srgbClr val="FFFFFF"/>
                </a:solidFill>
                <a:latin typeface="Segoe UI Semibold" panose="020B0702040204020203" pitchFamily="34" charset="0"/>
              </a:endParaRPr>
            </a:p>
            <a:p>
              <a:pPr>
                <a:buFont typeface="Arial" panose="020B0604020202020204" pitchFamily="34" charset="0"/>
                <a:buNone/>
              </a:pPr>
              <a:r>
                <a:rPr lang="en-AU" sz="625" b="1" dirty="0">
                  <a:solidFill>
                    <a:srgbClr val="FFFFFF"/>
                  </a:solidFill>
                </a:rPr>
                <a:t>INSTRUCTIONS TO RESIZE AND REPOSITION YOUR IMAGE:</a:t>
              </a:r>
            </a:p>
            <a:p>
              <a:pPr>
                <a:buFont typeface="Arial" panose="020B0604020202020204" pitchFamily="34" charset="0"/>
                <a:buNone/>
              </a:pPr>
              <a:endParaRPr lang="en-AU" sz="521" b="1" dirty="0">
                <a:solidFill>
                  <a:srgbClr val="FFFFFF"/>
                </a:solidFill>
              </a:endParaRPr>
            </a:p>
            <a:p>
              <a:pPr marL="148808" indent="-148808">
                <a:buFont typeface="+mj-lt"/>
                <a:buAutoNum type="arabicPeriod"/>
                <a:defRPr/>
              </a:pPr>
              <a:r>
                <a:rPr lang="en-AU" sz="521" dirty="0">
                  <a:solidFill>
                    <a:srgbClr val="FFFFFF"/>
                  </a:solidFill>
                  <a:latin typeface="Segoe UI Semibold" panose="020B0702040204020203" pitchFamily="34" charset="0"/>
                </a:rPr>
                <a:t>Click the image you want to edit</a:t>
              </a:r>
            </a:p>
            <a:p>
              <a:pPr marL="148808" indent="-148808">
                <a:buFont typeface="+mj-lt"/>
                <a:buAutoNum type="arabicPeriod"/>
                <a:defRPr/>
              </a:pPr>
              <a:r>
                <a:rPr lang="en-AU" sz="521" dirty="0">
                  <a:solidFill>
                    <a:srgbClr val="FFFFFF"/>
                  </a:solidFill>
                  <a:latin typeface="Segoe UI Semibold" panose="020B0702040204020203" pitchFamily="34" charset="0"/>
                </a:rPr>
                <a:t>Go to </a:t>
              </a:r>
              <a:r>
                <a:rPr lang="en-AU" sz="521" b="1" dirty="0">
                  <a:solidFill>
                    <a:srgbClr val="00AEEF"/>
                  </a:solidFill>
                </a:rPr>
                <a:t>PICTURE TOOLS </a:t>
              </a:r>
            </a:p>
            <a:p>
              <a:pPr marL="148808" indent="-148808">
                <a:buFont typeface="+mj-lt"/>
                <a:buAutoNum type="arabicPeriod"/>
                <a:defRPr/>
              </a:pPr>
              <a:r>
                <a:rPr lang="en-AU" sz="521" dirty="0">
                  <a:solidFill>
                    <a:srgbClr val="FFFFFF"/>
                  </a:solidFill>
                  <a:latin typeface="Segoe UI Semibold" panose="020B0702040204020203" pitchFamily="34" charset="0"/>
                </a:rPr>
                <a:t>To maintain the original size and format </a:t>
              </a:r>
              <a:br>
                <a:rPr lang="en-AU" sz="521" dirty="0">
                  <a:solidFill>
                    <a:srgbClr val="FFFFFF"/>
                  </a:solidFill>
                  <a:latin typeface="Segoe UI Semibold" panose="020B0702040204020203" pitchFamily="34" charset="0"/>
                </a:rPr>
              </a:br>
              <a:r>
                <a:rPr lang="en-AU" sz="521" dirty="0">
                  <a:solidFill>
                    <a:srgbClr val="FFFFFF"/>
                  </a:solidFill>
                  <a:latin typeface="Segoe UI Semibold" panose="020B0702040204020203" pitchFamily="34" charset="0"/>
                </a:rPr>
                <a:t>of the image, click the arrow under </a:t>
              </a:r>
              <a:r>
                <a:rPr lang="en-AU" sz="521" b="1" dirty="0">
                  <a:solidFill>
                    <a:srgbClr val="00AEEF"/>
                  </a:solidFill>
                </a:rPr>
                <a:t>CROP</a:t>
              </a:r>
              <a:r>
                <a:rPr lang="en-AU" sz="521" dirty="0">
                  <a:solidFill>
                    <a:srgbClr val="FFFFFF"/>
                  </a:solidFill>
                  <a:latin typeface="Segoe UI Semibold" panose="020B0702040204020203" pitchFamily="34" charset="0"/>
                </a:rPr>
                <a:t> and click </a:t>
              </a:r>
              <a:r>
                <a:rPr lang="en-AU" sz="521" b="1" dirty="0">
                  <a:solidFill>
                    <a:srgbClr val="00AEEF"/>
                  </a:solidFill>
                </a:rPr>
                <a:t>FIT</a:t>
              </a: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endParaRPr lang="en-AU" sz="625" b="1" dirty="0">
                <a:solidFill>
                  <a:srgbClr val="00AEEF"/>
                </a:solidFill>
              </a:endParaRPr>
            </a:p>
            <a:p>
              <a:pPr marL="148808" indent="-148808">
                <a:buFont typeface="+mj-lt"/>
                <a:buAutoNum type="arabicPeriod"/>
                <a:defRPr/>
              </a:pPr>
              <a:r>
                <a:rPr lang="en-AU" sz="521" dirty="0">
                  <a:solidFill>
                    <a:srgbClr val="FFFFFF"/>
                  </a:solidFill>
                  <a:latin typeface="Segoe UI Semibold" panose="020B0702040204020203" pitchFamily="34" charset="0"/>
                </a:rPr>
                <a:t>To reposition or resize your image, click </a:t>
              </a:r>
              <a:r>
                <a:rPr lang="en-AU" sz="521" b="1" dirty="0">
                  <a:solidFill>
                    <a:srgbClr val="00AEEF"/>
                  </a:solidFill>
                </a:rPr>
                <a:t>CROP</a:t>
              </a:r>
              <a:r>
                <a:rPr lang="en-AU" sz="521" dirty="0">
                  <a:solidFill>
                    <a:srgbClr val="FFFFFF"/>
                  </a:solidFill>
                  <a:latin typeface="Segoe UI Semibold" panose="020B0702040204020203" pitchFamily="34" charset="0"/>
                </a:rPr>
                <a:t>, and use the circles on the edge of the image</a:t>
              </a: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a:p>
              <a:pPr marL="148808" indent="-148808">
                <a:buFont typeface="+mj-lt"/>
                <a:buAutoNum type="arabicPeriod"/>
                <a:defRPr/>
              </a:pPr>
              <a:endParaRPr lang="en-AU" sz="521" dirty="0">
                <a:solidFill>
                  <a:srgbClr val="FFFFFF"/>
                </a:solidFill>
                <a:latin typeface="Segoe UI Semibold" panose="020B0702040204020203" pitchFamily="34" charset="0"/>
              </a:endParaRPr>
            </a:p>
          </p:txBody>
        </p:sp>
        <p:pic>
          <p:nvPicPr>
            <p:cNvPr id="14" name="Picture 13"/>
            <p:cNvPicPr/>
            <p:nvPr userDrawn="1"/>
          </p:nvPicPr>
          <p:blipFill rotWithShape="1">
            <a:blip r:embed="rId3"/>
            <a:srcRect r="51341"/>
            <a:stretch/>
          </p:blipFill>
          <p:spPr bwMode="auto">
            <a:xfrm>
              <a:off x="9629774" y="1683234"/>
              <a:ext cx="1962152" cy="1325024"/>
            </a:xfrm>
            <a:prstGeom prst="rect">
              <a:avLst/>
            </a:prstGeom>
            <a:ln>
              <a:noFill/>
            </a:ln>
            <a:extLst>
              <a:ext uri="{53640926-AAD7-44D8-BBD7-CCE9431645EC}">
                <a14:shadowObscured xmlns:a14="http://schemas.microsoft.com/office/drawing/2010/main"/>
              </a:ext>
            </a:extLst>
          </p:spPr>
        </p:pic>
        <p:pic>
          <p:nvPicPr>
            <p:cNvPr id="1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629774" y="4508500"/>
              <a:ext cx="849363" cy="1139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5"/>
            <p:cNvPicPr/>
            <p:nvPr userDrawn="1"/>
          </p:nvPicPr>
          <p:blipFill rotWithShape="1">
            <a:blip r:embed="rId5"/>
            <a:srcRect l="28204" t="64535" r="61298" b="23643"/>
            <a:stretch/>
          </p:blipFill>
          <p:spPr bwMode="auto">
            <a:xfrm>
              <a:off x="9629774" y="6089637"/>
              <a:ext cx="1508895" cy="558316"/>
            </a:xfrm>
            <a:prstGeom prst="rect">
              <a:avLst/>
            </a:prstGeom>
            <a:ln>
              <a:noFill/>
            </a:ln>
            <a:extLst>
              <a:ext uri="{53640926-AAD7-44D8-BBD7-CCE9431645EC}">
                <a14:shadowObscured xmlns:a14="http://schemas.microsoft.com/office/drawing/2010/main"/>
              </a:ext>
            </a:extLst>
          </p:spPr>
        </p:pic>
        <p:sp>
          <p:nvSpPr>
            <p:cNvPr id="19" name="Oval 18"/>
            <p:cNvSpPr/>
            <p:nvPr userDrawn="1"/>
          </p:nvSpPr>
          <p:spPr>
            <a:xfrm>
              <a:off x="9896475" y="6276596"/>
              <a:ext cx="582662" cy="21602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grpSp>
    </p:spTree>
    <p:extLst>
      <p:ext uri="{BB962C8B-B14F-4D97-AF65-F5344CB8AC3E}">
        <p14:creationId xmlns:p14="http://schemas.microsoft.com/office/powerpoint/2010/main" val="3036964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Advisian title &amp; text 2 column">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4" name="Rectangle 3"/>
          <p:cNvSpPr/>
          <p:nvPr userDrawn="1"/>
        </p:nvSpPr>
        <p:spPr>
          <a:xfrm>
            <a:off x="250034" y="5178731"/>
            <a:ext cx="6372225" cy="1166345"/>
          </a:xfrm>
          <a:prstGeom prst="rect">
            <a:avLst/>
          </a:prstGeom>
        </p:spPr>
        <p:txBody>
          <a:bodyPr wrap="square">
            <a:spAutoFit/>
          </a:bodyPr>
          <a:lstStyle/>
          <a:p>
            <a:pPr>
              <a:spcAft>
                <a:spcPts val="313"/>
              </a:spcAft>
            </a:pPr>
            <a:r>
              <a:rPr lang="en-AU" sz="521" b="1" dirty="0">
                <a:solidFill>
                  <a:srgbClr val="A38F68"/>
                </a:solidFill>
                <a:cs typeface="Segoe UI"/>
              </a:rPr>
              <a:t>DISCLAIMER</a:t>
            </a:r>
          </a:p>
          <a:p>
            <a:pPr>
              <a:spcAft>
                <a:spcPts val="313"/>
              </a:spcAft>
            </a:pPr>
            <a:r>
              <a:rPr lang="en-AU" sz="521" dirty="0">
                <a:solidFill>
                  <a:srgbClr val="000000"/>
                </a:solidFill>
                <a:cs typeface="Segoe UI"/>
              </a:rPr>
              <a:t>This presentation has been prepared by a representative of Offshore Mining and Civil.</a:t>
            </a:r>
          </a:p>
          <a:p>
            <a:pPr>
              <a:spcAft>
                <a:spcPts val="313"/>
              </a:spcAft>
            </a:pPr>
            <a:r>
              <a:rPr lang="en-AU" sz="521" dirty="0">
                <a:solidFill>
                  <a:srgbClr val="000000"/>
                </a:solidFill>
                <a:cs typeface="Segoe UI"/>
              </a:rPr>
              <a:t>The presentation contains the professional and personal opinions of the presenter, which are given in good faith.  As such, opinions presented herein may not always necessarily reflect the position of Offshore Mining and Civil as a whole, its officers or executive.</a:t>
            </a:r>
          </a:p>
          <a:p>
            <a:pPr>
              <a:spcAft>
                <a:spcPts val="313"/>
              </a:spcAft>
            </a:pPr>
            <a:r>
              <a:rPr lang="en-AU" sz="521" dirty="0">
                <a:solidFill>
                  <a:srgbClr val="000000"/>
                </a:solidFill>
                <a:cs typeface="Segoe UI"/>
              </a:rPr>
              <a:t>Any forward-looking statements included in this presentation will involve subjective judgment and analysis and are subject to uncertainties, risks and contingencies—many of which are outside the control of, and may be unknown to, Offshore Mining and Civil.  </a:t>
            </a:r>
          </a:p>
          <a:p>
            <a:pPr>
              <a:spcAft>
                <a:spcPts val="313"/>
              </a:spcAft>
            </a:pPr>
            <a:r>
              <a:rPr lang="en-AU" sz="521" dirty="0">
                <a:solidFill>
                  <a:srgbClr val="000000"/>
                </a:solidFill>
                <a:cs typeface="Segoe UI"/>
              </a:rPr>
              <a:t>Offshore Mining and Civil and all associated entities and representatives make no representation or warranty as to the accuracy, reliability or completeness of information in this document and do not take responsibility for updating any information or correcting any error or omission that may become apparent after this document has been issued.</a:t>
            </a:r>
          </a:p>
          <a:p>
            <a:pPr>
              <a:spcAft>
                <a:spcPts val="313"/>
              </a:spcAft>
            </a:pPr>
            <a:r>
              <a:rPr lang="en-AU" sz="521" dirty="0">
                <a:solidFill>
                  <a:srgbClr val="000000"/>
                </a:solidFill>
                <a:cs typeface="Segoe UI"/>
              </a:rPr>
              <a:t>To the extent permitted by law, Offshore Mining and Civil and its officers, employees, related bodies and agents disclaim all liability—direct, indirect or consequential (and whether or not arising out of the negligence, default or lack of care of Offshore Mining and Civil and/or any of its agents)—for any loss or damage suffered by a recipient or other persons arising out of, or in connection with, any use or reliance on this presentation or information.</a:t>
            </a:r>
          </a:p>
        </p:txBody>
      </p:sp>
    </p:spTree>
    <p:extLst>
      <p:ext uri="{BB962C8B-B14F-4D97-AF65-F5344CB8AC3E}">
        <p14:creationId xmlns:p14="http://schemas.microsoft.com/office/powerpoint/2010/main" val="313884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dvisian Title no content">
    <p:spTree>
      <p:nvGrpSpPr>
        <p:cNvPr id="1" name=""/>
        <p:cNvGrpSpPr/>
        <p:nvPr/>
      </p:nvGrpSpPr>
      <p:grpSpPr>
        <a:xfrm>
          <a:off x="0" y="0"/>
          <a:ext cx="0" cy="0"/>
          <a:chOff x="0" y="0"/>
          <a:chExt cx="0" cy="0"/>
        </a:xfrm>
      </p:grpSpPr>
      <p:sp>
        <p:nvSpPr>
          <p:cNvPr id="2" name="Title 1"/>
          <p:cNvSpPr>
            <a:spLocks noGrp="1"/>
          </p:cNvSpPr>
          <p:nvPr>
            <p:ph type="title"/>
          </p:nvPr>
        </p:nvSpPr>
        <p:spPr>
          <a:xfrm>
            <a:off x="591258" y="63509"/>
            <a:ext cx="6102678" cy="1076408"/>
          </a:xfrm>
        </p:spPr>
        <p:txBody>
          <a:bodyPr>
            <a:normAutofit/>
          </a:bodyPr>
          <a:lstStyle>
            <a:lvl1pPr>
              <a:defRPr sz="1500"/>
            </a:lvl1pPr>
          </a:lstStyle>
          <a:p>
            <a:r>
              <a:rPr lang="en-US" dirty="0"/>
              <a:t>Click to edit Master title style</a:t>
            </a:r>
            <a:endParaRPr lang="en-AU" dirty="0"/>
          </a:p>
        </p:txBody>
      </p:sp>
      <p:sp>
        <p:nvSpPr>
          <p:cNvPr id="3" name="Slide Number Placeholder 2"/>
          <p:cNvSpPr>
            <a:spLocks noGrp="1"/>
          </p:cNvSpPr>
          <p:nvPr>
            <p:ph type="sldNum" sz="quarter" idx="10"/>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399019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dvisian title and tex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sz="1500" b="0">
                <a:solidFill>
                  <a:srgbClr val="162934"/>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313"/>
              </a:spcAft>
              <a:buNone/>
              <a:defRPr sz="1042">
                <a:latin typeface="Segoe UI" panose="020B0502040204020203" pitchFamily="34" charset="0"/>
                <a:ea typeface="Segoe UI" panose="020B0502040204020203" pitchFamily="34" charset="0"/>
                <a:cs typeface="Segoe UI" panose="020B0502040204020203" pitchFamily="34" charset="0"/>
              </a:defRPr>
            </a:lvl1pPr>
            <a:lvl2pPr marL="186838" indent="-186838" rtl="0">
              <a:spcAft>
                <a:spcPts val="313"/>
              </a:spcAft>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6012" rtl="0">
              <a:spcAft>
                <a:spcPts val="313"/>
              </a:spcAft>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51420" indent="-178571" rtl="0">
              <a:spcAft>
                <a:spcPts val="313"/>
              </a:spcAft>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5697" indent="-186012">
              <a:spcAft>
                <a:spcPts val="1250"/>
              </a:spcAft>
              <a:buFont typeface="Arial" panose="020B0604020202020204" pitchFamily="34" charset="0"/>
              <a:buChar char="•"/>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p:txBody>
          <a:bodyPr/>
          <a:lstStyle>
            <a:lvl1pPr rtl="0">
              <a:defRPr>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6" name="Freeform 5"/>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62175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Advisian title and text">
    <p:bg>
      <p:bgPr>
        <a:solidFill>
          <a:schemeClr val="tx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endParaRPr lang="en-AU" dirty="0"/>
          </a:p>
        </p:txBody>
      </p:sp>
      <p:sp>
        <p:nvSpPr>
          <p:cNvPr id="3" name="Content Placeholder 2"/>
          <p:cNvSpPr>
            <a:spLocks noGrp="1"/>
          </p:cNvSpPr>
          <p:nvPr>
            <p:ph sz="quarter" idx="10"/>
          </p:nvPr>
        </p:nvSpPr>
        <p:spPr>
          <a:xfrm>
            <a:off x="600075" y="1788585"/>
            <a:ext cx="6023372" cy="6623843"/>
          </a:xfrm>
        </p:spPr>
        <p:txBody>
          <a:bodyPr>
            <a:normAutofit/>
          </a:bodyPr>
          <a:lstStyle>
            <a:lvl1pPr marL="0" indent="0" rtl="0">
              <a:spcAft>
                <a:spcPts val="313"/>
              </a:spcAft>
              <a:buNone/>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186838" indent="-186838" rtl="0">
              <a:spcAft>
                <a:spcPts val="313"/>
              </a:spcAft>
              <a:buClr>
                <a:schemeClr val="bg1"/>
              </a:buClr>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marL="372849" indent="-186012" rtl="0">
              <a:spcAft>
                <a:spcPts val="313"/>
              </a:spcAft>
              <a:buClr>
                <a:schemeClr val="bg1"/>
              </a:buClr>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marL="551420" indent="-178571" rtl="0">
              <a:spcAft>
                <a:spcPts val="313"/>
              </a:spcAft>
              <a:buClr>
                <a:schemeClr val="bg1"/>
              </a:buClr>
              <a:buSzPct val="90000"/>
              <a:buFont typeface="Arial" panose="020B0604020202020204" pitchFamily="34" charset="0"/>
              <a:buChar char="•"/>
              <a:defRPr sz="1042">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marL="745697" indent="-186012">
              <a:spcAft>
                <a:spcPts val="1250"/>
              </a:spcAft>
              <a:buFont typeface="Arial" panose="020B0604020202020204" pitchFamily="34" charset="0"/>
              <a:buChar char="•"/>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p:txBody>
          <a:bodyPr/>
          <a:lstStyle>
            <a:lvl1pPr rtl="0">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solidFill>
              </a:rPr>
              <a:t> Offshore Mining and Civil  / </a:t>
            </a:r>
            <a:fld id="{CFD780AD-5876-4BCA-80DC-E96648A7269F}" type="slidenum">
              <a:rPr lang="en-AU" smtClean="0">
                <a:solidFill>
                  <a:srgbClr val="FFFFFF"/>
                </a:solidFill>
              </a:rPr>
              <a:pPr/>
              <a:t>‹#›</a:t>
            </a:fld>
            <a:endParaRPr lang="en-AU" dirty="0">
              <a:solidFill>
                <a:srgbClr val="FFFFFF"/>
              </a:solidFill>
            </a:endParaRPr>
          </a:p>
        </p:txBody>
      </p:sp>
      <p:sp>
        <p:nvSpPr>
          <p:cNvPr id="6" name="Freeform 5"/>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812028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1258" y="63509"/>
            <a:ext cx="6102678" cy="1076408"/>
          </a:xfrm>
          <a:prstGeom prst="rect">
            <a:avLst/>
          </a:prstGeom>
        </p:spPr>
        <p:txBody>
          <a:bodyPr vert="horz" lIns="0" tIns="0" rIns="0" bIns="0" rtlCol="0" anchor="b" anchorCtr="0">
            <a:normAutofit/>
          </a:bodyPr>
          <a:lstStyle>
            <a:lvl1pPr rtl="0">
              <a:defRPr sz="1500" b="0">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600076" y="1787172"/>
            <a:ext cx="2883084" cy="6570927"/>
          </a:xfrm>
        </p:spPr>
        <p:txBody>
          <a:bodyPr>
            <a:normAutofit/>
          </a:bodyPr>
          <a:lstStyle>
            <a:lvl1pPr marL="0" indent="0" rtl="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rtl="0">
              <a:buClr>
                <a:schemeClr val="accent1"/>
              </a:buClr>
              <a:buSzPct val="90000"/>
              <a:buFont typeface="Arial" panose="020B0604020202020204" pitchFamily="34" charset="0"/>
              <a:buChar char="•"/>
              <a:tabLst/>
              <a:defRPr sz="1042">
                <a:latin typeface="Segoe UI" panose="020B0502040204020203" pitchFamily="34" charset="0"/>
                <a:ea typeface="Segoe UI" panose="020B0502040204020203" pitchFamily="34" charset="0"/>
                <a:cs typeface="Segoe UI" panose="020B0502040204020203" pitchFamily="34" charset="0"/>
              </a:defRPr>
            </a:lvl4pPr>
            <a:lvl5pPr marL="746524" indent="-185184">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quarter" idx="11"/>
          </p:nvPr>
        </p:nvSpPr>
        <p:spPr>
          <a:xfrm>
            <a:off x="3740364" y="1787172"/>
            <a:ext cx="2883084" cy="6570927"/>
          </a:xfrm>
        </p:spPr>
        <p:txBody>
          <a:bodyPr>
            <a:normAutofit/>
          </a:bodyPr>
          <a:lstStyle>
            <a:lvl1pPr marL="0" indent="0" rtl="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rtl="0">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rtl="0">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9005" indent="-187665">
              <a:defRPr sz="1042">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8" name="Freeform 7"/>
          <p:cNvSpPr/>
          <p:nvPr userDrawn="1"/>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9" name="Parallelogram 11"/>
          <p:cNvSpPr/>
          <p:nvPr userDrawn="1"/>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2775270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dvisian 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1258" y="-1"/>
            <a:ext cx="6102678" cy="1139909"/>
          </a:xfrm>
        </p:spPr>
        <p:txBody>
          <a:bodyPr>
            <a:normAutofit/>
          </a:bodyPr>
          <a:lstStyle>
            <a:lvl1pPr>
              <a:defRPr sz="1500" b="0">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8" name="Picture Placeholder 5"/>
          <p:cNvSpPr>
            <a:spLocks noGrp="1"/>
          </p:cNvSpPr>
          <p:nvPr>
            <p:ph type="pic" sz="quarter" idx="14"/>
          </p:nvPr>
        </p:nvSpPr>
        <p:spPr>
          <a:xfrm>
            <a:off x="-7142" y="1788589"/>
            <a:ext cx="2477217" cy="3610187"/>
          </a:xfrm>
          <a:custGeom>
            <a:avLst/>
            <a:gdLst>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5010231 w 5560752"/>
              <a:gd name="connsiteY17" fmla="*/ 2899066 h 6868800"/>
              <a:gd name="connsiteX18" fmla="*/ 4091146 w 5560752"/>
              <a:gd name="connsiteY18" fmla="*/ 5064754 h 6868800"/>
              <a:gd name="connsiteX19" fmla="*/ 3981817 w 5560752"/>
              <a:gd name="connsiteY19" fmla="*/ 5064753 h 6868800"/>
              <a:gd name="connsiteX20" fmla="*/ 3313099 w 5560752"/>
              <a:gd name="connsiteY20" fmla="*/ 3306692 h 6868800"/>
              <a:gd name="connsiteX21" fmla="*/ 2652829 w 5560752"/>
              <a:gd name="connsiteY21" fmla="*/ 3306692 h 6868800"/>
              <a:gd name="connsiteX22" fmla="*/ 2828495 w 5560752"/>
              <a:gd name="connsiteY22" fmla="*/ 2897733 h 6868800"/>
              <a:gd name="connsiteX23" fmla="*/ 0 w 5560752"/>
              <a:gd name="connsiteY23" fmla="*/ 0 h 6868800"/>
              <a:gd name="connsiteX24" fmla="*/ 5560752 w 5560752"/>
              <a:gd name="connsiteY24" fmla="*/ 0 h 6868800"/>
              <a:gd name="connsiteX25" fmla="*/ 5560752 w 5560752"/>
              <a:gd name="connsiteY25" fmla="*/ 6868800 h 6868800"/>
              <a:gd name="connsiteX26" fmla="*/ 2621885 w 5560752"/>
              <a:gd name="connsiteY26" fmla="*/ 6868800 h 6868800"/>
              <a:gd name="connsiteX27" fmla="*/ 2418035 w 5560752"/>
              <a:gd name="connsiteY27" fmla="*/ 6334754 h 6868800"/>
              <a:gd name="connsiteX28" fmla="*/ 4464207 w 5560752"/>
              <a:gd name="connsiteY28" fmla="*/ 6332960 h 6868800"/>
              <a:gd name="connsiteX29" fmla="*/ 3996958 w 5560752"/>
              <a:gd name="connsiteY29" fmla="*/ 5104559 h 6868800"/>
              <a:gd name="connsiteX30" fmla="*/ 4119221 w 5560752"/>
              <a:gd name="connsiteY30" fmla="*/ 5104563 h 6868800"/>
              <a:gd name="connsiteX31" fmla="*/ 2794373 w 5560752"/>
              <a:gd name="connsiteY31" fmla="*/ 2860946 h 6868800"/>
              <a:gd name="connsiteX32" fmla="*/ 2604149 w 5560752"/>
              <a:gd name="connsiteY32" fmla="*/ 3306692 h 6868800"/>
              <a:gd name="connsiteX33" fmla="*/ 1262196 w 5560752"/>
              <a:gd name="connsiteY33" fmla="*/ 3306692 h 6868800"/>
              <a:gd name="connsiteX34" fmla="*/ 0 w 5560752"/>
              <a:gd name="connsiteY34"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4119221 w 5560752"/>
              <a:gd name="connsiteY29" fmla="*/ 5104563 h 6868800"/>
              <a:gd name="connsiteX30" fmla="*/ 2794373 w 5560752"/>
              <a:gd name="connsiteY30" fmla="*/ 2860946 h 6868800"/>
              <a:gd name="connsiteX31" fmla="*/ 2604149 w 5560752"/>
              <a:gd name="connsiteY31" fmla="*/ 3306692 h 6868800"/>
              <a:gd name="connsiteX32" fmla="*/ 1262196 w 5560752"/>
              <a:gd name="connsiteY32" fmla="*/ 3306692 h 6868800"/>
              <a:gd name="connsiteX33" fmla="*/ 0 w 5560752"/>
              <a:gd name="connsiteY33"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3996958 w 5560752"/>
              <a:gd name="connsiteY28" fmla="*/ 5104559 h 6868800"/>
              <a:gd name="connsiteX29" fmla="*/ 2794373 w 5560752"/>
              <a:gd name="connsiteY29" fmla="*/ 2860946 h 6868800"/>
              <a:gd name="connsiteX30" fmla="*/ 2604149 w 5560752"/>
              <a:gd name="connsiteY30" fmla="*/ 3306692 h 6868800"/>
              <a:gd name="connsiteX31" fmla="*/ 1262196 w 5560752"/>
              <a:gd name="connsiteY31" fmla="*/ 3306692 h 6868800"/>
              <a:gd name="connsiteX32" fmla="*/ 0 w 5560752"/>
              <a:gd name="connsiteY32"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4091146 w 5560752"/>
              <a:gd name="connsiteY17" fmla="*/ 5064754 h 6868800"/>
              <a:gd name="connsiteX18" fmla="*/ 3981817 w 5560752"/>
              <a:gd name="connsiteY18" fmla="*/ 5064753 h 6868800"/>
              <a:gd name="connsiteX19" fmla="*/ 3313099 w 5560752"/>
              <a:gd name="connsiteY19" fmla="*/ 3306692 h 6868800"/>
              <a:gd name="connsiteX20" fmla="*/ 2652829 w 5560752"/>
              <a:gd name="connsiteY20" fmla="*/ 3306692 h 6868800"/>
              <a:gd name="connsiteX21" fmla="*/ 2828495 w 5560752"/>
              <a:gd name="connsiteY21" fmla="*/ 2897733 h 6868800"/>
              <a:gd name="connsiteX22" fmla="*/ 0 w 5560752"/>
              <a:gd name="connsiteY22" fmla="*/ 0 h 6868800"/>
              <a:gd name="connsiteX23" fmla="*/ 5560752 w 5560752"/>
              <a:gd name="connsiteY23" fmla="*/ 0 h 6868800"/>
              <a:gd name="connsiteX24" fmla="*/ 5560752 w 5560752"/>
              <a:gd name="connsiteY24" fmla="*/ 6868800 h 6868800"/>
              <a:gd name="connsiteX25" fmla="*/ 2621885 w 5560752"/>
              <a:gd name="connsiteY25" fmla="*/ 6868800 h 6868800"/>
              <a:gd name="connsiteX26" fmla="*/ 2418035 w 5560752"/>
              <a:gd name="connsiteY26" fmla="*/ 6334754 h 6868800"/>
              <a:gd name="connsiteX27" fmla="*/ 4464207 w 5560752"/>
              <a:gd name="connsiteY27" fmla="*/ 6332960 h 6868800"/>
              <a:gd name="connsiteX28" fmla="*/ 2794373 w 5560752"/>
              <a:gd name="connsiteY28" fmla="*/ 2860946 h 6868800"/>
              <a:gd name="connsiteX29" fmla="*/ 2604149 w 5560752"/>
              <a:gd name="connsiteY29" fmla="*/ 3306692 h 6868800"/>
              <a:gd name="connsiteX30" fmla="*/ 1262196 w 5560752"/>
              <a:gd name="connsiteY30" fmla="*/ 3306692 h 6868800"/>
              <a:gd name="connsiteX31" fmla="*/ 0 w 5560752"/>
              <a:gd name="connsiteY31"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981817 w 5560752"/>
              <a:gd name="connsiteY17" fmla="*/ 5064753 h 6868800"/>
              <a:gd name="connsiteX18" fmla="*/ 3313099 w 5560752"/>
              <a:gd name="connsiteY18" fmla="*/ 3306692 h 6868800"/>
              <a:gd name="connsiteX19" fmla="*/ 2652829 w 5560752"/>
              <a:gd name="connsiteY19" fmla="*/ 3306692 h 6868800"/>
              <a:gd name="connsiteX20" fmla="*/ 2828495 w 5560752"/>
              <a:gd name="connsiteY20" fmla="*/ 2897733 h 6868800"/>
              <a:gd name="connsiteX21" fmla="*/ 0 w 5560752"/>
              <a:gd name="connsiteY21" fmla="*/ 0 h 6868800"/>
              <a:gd name="connsiteX22" fmla="*/ 5560752 w 5560752"/>
              <a:gd name="connsiteY22" fmla="*/ 0 h 6868800"/>
              <a:gd name="connsiteX23" fmla="*/ 5560752 w 5560752"/>
              <a:gd name="connsiteY23" fmla="*/ 6868800 h 6868800"/>
              <a:gd name="connsiteX24" fmla="*/ 2621885 w 5560752"/>
              <a:gd name="connsiteY24" fmla="*/ 6868800 h 6868800"/>
              <a:gd name="connsiteX25" fmla="*/ 2418035 w 5560752"/>
              <a:gd name="connsiteY25" fmla="*/ 6334754 h 6868800"/>
              <a:gd name="connsiteX26" fmla="*/ 4464207 w 5560752"/>
              <a:gd name="connsiteY26" fmla="*/ 6332960 h 6868800"/>
              <a:gd name="connsiteX27" fmla="*/ 2794373 w 5560752"/>
              <a:gd name="connsiteY27" fmla="*/ 2860946 h 6868800"/>
              <a:gd name="connsiteX28" fmla="*/ 2604149 w 5560752"/>
              <a:gd name="connsiteY28" fmla="*/ 3306692 h 6868800"/>
              <a:gd name="connsiteX29" fmla="*/ 1262196 w 5560752"/>
              <a:gd name="connsiteY29" fmla="*/ 3306692 h 6868800"/>
              <a:gd name="connsiteX30" fmla="*/ 0 w 5560752"/>
              <a:gd name="connsiteY30"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3313099 w 5560752"/>
              <a:gd name="connsiteY17" fmla="*/ 3306692 h 6868800"/>
              <a:gd name="connsiteX18" fmla="*/ 2652829 w 5560752"/>
              <a:gd name="connsiteY18" fmla="*/ 3306692 h 6868800"/>
              <a:gd name="connsiteX19" fmla="*/ 2828495 w 5560752"/>
              <a:gd name="connsiteY19" fmla="*/ 2897733 h 6868800"/>
              <a:gd name="connsiteX20" fmla="*/ 0 w 5560752"/>
              <a:gd name="connsiteY20" fmla="*/ 0 h 6868800"/>
              <a:gd name="connsiteX21" fmla="*/ 5560752 w 5560752"/>
              <a:gd name="connsiteY21" fmla="*/ 0 h 6868800"/>
              <a:gd name="connsiteX22" fmla="*/ 5560752 w 5560752"/>
              <a:gd name="connsiteY22" fmla="*/ 6868800 h 6868800"/>
              <a:gd name="connsiteX23" fmla="*/ 2621885 w 5560752"/>
              <a:gd name="connsiteY23" fmla="*/ 6868800 h 6868800"/>
              <a:gd name="connsiteX24" fmla="*/ 2418035 w 5560752"/>
              <a:gd name="connsiteY24" fmla="*/ 6334754 h 6868800"/>
              <a:gd name="connsiteX25" fmla="*/ 4464207 w 5560752"/>
              <a:gd name="connsiteY25" fmla="*/ 6332960 h 6868800"/>
              <a:gd name="connsiteX26" fmla="*/ 2794373 w 5560752"/>
              <a:gd name="connsiteY26" fmla="*/ 2860946 h 6868800"/>
              <a:gd name="connsiteX27" fmla="*/ 2604149 w 5560752"/>
              <a:gd name="connsiteY27" fmla="*/ 3306692 h 6868800"/>
              <a:gd name="connsiteX28" fmla="*/ 1262196 w 5560752"/>
              <a:gd name="connsiteY28" fmla="*/ 3306692 h 6868800"/>
              <a:gd name="connsiteX29" fmla="*/ 0 w 5560752"/>
              <a:gd name="connsiteY29"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4464207 w 5560752"/>
              <a:gd name="connsiteY24" fmla="*/ 6332960 h 6868800"/>
              <a:gd name="connsiteX25" fmla="*/ 2794373 w 5560752"/>
              <a:gd name="connsiteY25" fmla="*/ 2860946 h 6868800"/>
              <a:gd name="connsiteX26" fmla="*/ 2604149 w 5560752"/>
              <a:gd name="connsiteY26" fmla="*/ 3306692 h 6868800"/>
              <a:gd name="connsiteX27" fmla="*/ 1262196 w 5560752"/>
              <a:gd name="connsiteY27" fmla="*/ 3306692 h 6868800"/>
              <a:gd name="connsiteX28" fmla="*/ 0 w 5560752"/>
              <a:gd name="connsiteY28" fmla="*/ 0 h 6868800"/>
              <a:gd name="connsiteX0" fmla="*/ 1949917 w 5560752"/>
              <a:gd name="connsiteY0" fmla="*/ 5104493 h 6868800"/>
              <a:gd name="connsiteX1" fmla="*/ 3669002 w 5560752"/>
              <a:gd name="connsiteY1" fmla="*/ 5104549 h 6868800"/>
              <a:gd name="connsiteX2" fmla="*/ 4019322 w 5560752"/>
              <a:gd name="connsiteY2" fmla="*/ 6026350 h 6868800"/>
              <a:gd name="connsiteX3" fmla="*/ 2300314 w 5560752"/>
              <a:gd name="connsiteY3" fmla="*/ 6026350 h 6868800"/>
              <a:gd name="connsiteX4" fmla="*/ 2287475 w 5560752"/>
              <a:gd name="connsiteY4" fmla="*/ 5992714 h 6868800"/>
              <a:gd name="connsiteX5" fmla="*/ 1949917 w 5560752"/>
              <a:gd name="connsiteY5" fmla="*/ 5104493 h 6868800"/>
              <a:gd name="connsiteX6" fmla="*/ 2523173 w 5560752"/>
              <a:gd name="connsiteY6" fmla="*/ 3608540 h 6868800"/>
              <a:gd name="connsiteX7" fmla="*/ 3100461 w 5560752"/>
              <a:gd name="connsiteY7" fmla="*/ 3608540 h 6868800"/>
              <a:gd name="connsiteX8" fmla="*/ 3653877 w 5560752"/>
              <a:gd name="connsiteY8" fmla="*/ 5064749 h 6868800"/>
              <a:gd name="connsiteX9" fmla="*/ 1934805 w 5560752"/>
              <a:gd name="connsiteY9" fmla="*/ 5064727 h 6868800"/>
              <a:gd name="connsiteX10" fmla="*/ 1917376 w 5560752"/>
              <a:gd name="connsiteY10" fmla="*/ 5018866 h 6868800"/>
              <a:gd name="connsiteX11" fmla="*/ 2523173 w 5560752"/>
              <a:gd name="connsiteY11" fmla="*/ 3608540 h 6868800"/>
              <a:gd name="connsiteX12" fmla="*/ 1381398 w 5560752"/>
              <a:gd name="connsiteY12" fmla="*/ 3608540 h 6868800"/>
              <a:gd name="connsiteX13" fmla="*/ 2475335 w 5560752"/>
              <a:gd name="connsiteY13" fmla="*/ 3608540 h 6868800"/>
              <a:gd name="connsiteX14" fmla="*/ 1896695 w 5560752"/>
              <a:gd name="connsiteY14" fmla="*/ 4964449 h 6868800"/>
              <a:gd name="connsiteX15" fmla="*/ 1381398 w 5560752"/>
              <a:gd name="connsiteY15" fmla="*/ 3608540 h 6868800"/>
              <a:gd name="connsiteX16" fmla="*/ 2828495 w 5560752"/>
              <a:gd name="connsiteY16" fmla="*/ 2897733 h 6868800"/>
              <a:gd name="connsiteX17" fmla="*/ 2652829 w 5560752"/>
              <a:gd name="connsiteY17" fmla="*/ 3306692 h 6868800"/>
              <a:gd name="connsiteX18" fmla="*/ 2828495 w 5560752"/>
              <a:gd name="connsiteY18" fmla="*/ 2897733 h 6868800"/>
              <a:gd name="connsiteX19" fmla="*/ 0 w 5560752"/>
              <a:gd name="connsiteY19" fmla="*/ 0 h 6868800"/>
              <a:gd name="connsiteX20" fmla="*/ 5560752 w 5560752"/>
              <a:gd name="connsiteY20" fmla="*/ 0 h 6868800"/>
              <a:gd name="connsiteX21" fmla="*/ 5560752 w 5560752"/>
              <a:gd name="connsiteY21" fmla="*/ 6868800 h 6868800"/>
              <a:gd name="connsiteX22" fmla="*/ 2621885 w 5560752"/>
              <a:gd name="connsiteY22" fmla="*/ 6868800 h 6868800"/>
              <a:gd name="connsiteX23" fmla="*/ 2418035 w 5560752"/>
              <a:gd name="connsiteY23" fmla="*/ 6334754 h 6868800"/>
              <a:gd name="connsiteX24" fmla="*/ 2794373 w 5560752"/>
              <a:gd name="connsiteY24" fmla="*/ 2860946 h 6868800"/>
              <a:gd name="connsiteX25" fmla="*/ 2604149 w 5560752"/>
              <a:gd name="connsiteY25" fmla="*/ 3306692 h 6868800"/>
              <a:gd name="connsiteX26" fmla="*/ 1262196 w 5560752"/>
              <a:gd name="connsiteY26" fmla="*/ 3306692 h 6868800"/>
              <a:gd name="connsiteX27" fmla="*/ 0 w 5560752"/>
              <a:gd name="connsiteY27"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3653877 w 5560752"/>
              <a:gd name="connsiteY7" fmla="*/ 5064749 h 6868800"/>
              <a:gd name="connsiteX8" fmla="*/ 1934805 w 5560752"/>
              <a:gd name="connsiteY8" fmla="*/ 5064727 h 6868800"/>
              <a:gd name="connsiteX9" fmla="*/ 1917376 w 5560752"/>
              <a:gd name="connsiteY9" fmla="*/ 5018866 h 6868800"/>
              <a:gd name="connsiteX10" fmla="*/ 2523173 w 5560752"/>
              <a:gd name="connsiteY10" fmla="*/ 3608540 h 6868800"/>
              <a:gd name="connsiteX11" fmla="*/ 1381398 w 5560752"/>
              <a:gd name="connsiteY11" fmla="*/ 3608540 h 6868800"/>
              <a:gd name="connsiteX12" fmla="*/ 2475335 w 5560752"/>
              <a:gd name="connsiteY12" fmla="*/ 3608540 h 6868800"/>
              <a:gd name="connsiteX13" fmla="*/ 1896695 w 5560752"/>
              <a:gd name="connsiteY13" fmla="*/ 4964449 h 6868800"/>
              <a:gd name="connsiteX14" fmla="*/ 1381398 w 5560752"/>
              <a:gd name="connsiteY14" fmla="*/ 3608540 h 6868800"/>
              <a:gd name="connsiteX15" fmla="*/ 2828495 w 5560752"/>
              <a:gd name="connsiteY15" fmla="*/ 2897733 h 6868800"/>
              <a:gd name="connsiteX16" fmla="*/ 2652829 w 5560752"/>
              <a:gd name="connsiteY16" fmla="*/ 3306692 h 6868800"/>
              <a:gd name="connsiteX17" fmla="*/ 2828495 w 5560752"/>
              <a:gd name="connsiteY17" fmla="*/ 2897733 h 6868800"/>
              <a:gd name="connsiteX18" fmla="*/ 0 w 5560752"/>
              <a:gd name="connsiteY18" fmla="*/ 0 h 6868800"/>
              <a:gd name="connsiteX19" fmla="*/ 5560752 w 5560752"/>
              <a:gd name="connsiteY19" fmla="*/ 0 h 6868800"/>
              <a:gd name="connsiteX20" fmla="*/ 5560752 w 5560752"/>
              <a:gd name="connsiteY20" fmla="*/ 6868800 h 6868800"/>
              <a:gd name="connsiteX21" fmla="*/ 2621885 w 5560752"/>
              <a:gd name="connsiteY21" fmla="*/ 6868800 h 6868800"/>
              <a:gd name="connsiteX22" fmla="*/ 2418035 w 5560752"/>
              <a:gd name="connsiteY22" fmla="*/ 6334754 h 6868800"/>
              <a:gd name="connsiteX23" fmla="*/ 2794373 w 5560752"/>
              <a:gd name="connsiteY23" fmla="*/ 2860946 h 6868800"/>
              <a:gd name="connsiteX24" fmla="*/ 2604149 w 5560752"/>
              <a:gd name="connsiteY24" fmla="*/ 3306692 h 6868800"/>
              <a:gd name="connsiteX25" fmla="*/ 1262196 w 5560752"/>
              <a:gd name="connsiteY25" fmla="*/ 3306692 h 6868800"/>
              <a:gd name="connsiteX26" fmla="*/ 0 w 5560752"/>
              <a:gd name="connsiteY26" fmla="*/ 0 h 6868800"/>
              <a:gd name="connsiteX0" fmla="*/ 1949917 w 5560752"/>
              <a:gd name="connsiteY0" fmla="*/ 5104493 h 6868800"/>
              <a:gd name="connsiteX1" fmla="*/ 3669002 w 5560752"/>
              <a:gd name="connsiteY1" fmla="*/ 5104549 h 6868800"/>
              <a:gd name="connsiteX2" fmla="*/ 2300314 w 5560752"/>
              <a:gd name="connsiteY2" fmla="*/ 6026350 h 6868800"/>
              <a:gd name="connsiteX3" fmla="*/ 2287475 w 5560752"/>
              <a:gd name="connsiteY3" fmla="*/ 5992714 h 6868800"/>
              <a:gd name="connsiteX4" fmla="*/ 1949917 w 5560752"/>
              <a:gd name="connsiteY4" fmla="*/ 5104493 h 6868800"/>
              <a:gd name="connsiteX5" fmla="*/ 2523173 w 5560752"/>
              <a:gd name="connsiteY5" fmla="*/ 3608540 h 6868800"/>
              <a:gd name="connsiteX6" fmla="*/ 3100461 w 5560752"/>
              <a:gd name="connsiteY6" fmla="*/ 3608540 h 6868800"/>
              <a:gd name="connsiteX7" fmla="*/ 1934805 w 5560752"/>
              <a:gd name="connsiteY7" fmla="*/ 5064727 h 6868800"/>
              <a:gd name="connsiteX8" fmla="*/ 1917376 w 5560752"/>
              <a:gd name="connsiteY8" fmla="*/ 5018866 h 6868800"/>
              <a:gd name="connsiteX9" fmla="*/ 2523173 w 5560752"/>
              <a:gd name="connsiteY9" fmla="*/ 3608540 h 6868800"/>
              <a:gd name="connsiteX10" fmla="*/ 1381398 w 5560752"/>
              <a:gd name="connsiteY10" fmla="*/ 3608540 h 6868800"/>
              <a:gd name="connsiteX11" fmla="*/ 2475335 w 5560752"/>
              <a:gd name="connsiteY11" fmla="*/ 3608540 h 6868800"/>
              <a:gd name="connsiteX12" fmla="*/ 1896695 w 5560752"/>
              <a:gd name="connsiteY12" fmla="*/ 4964449 h 6868800"/>
              <a:gd name="connsiteX13" fmla="*/ 1381398 w 5560752"/>
              <a:gd name="connsiteY13" fmla="*/ 3608540 h 6868800"/>
              <a:gd name="connsiteX14" fmla="*/ 2828495 w 5560752"/>
              <a:gd name="connsiteY14" fmla="*/ 2897733 h 6868800"/>
              <a:gd name="connsiteX15" fmla="*/ 2652829 w 5560752"/>
              <a:gd name="connsiteY15" fmla="*/ 3306692 h 6868800"/>
              <a:gd name="connsiteX16" fmla="*/ 2828495 w 5560752"/>
              <a:gd name="connsiteY16" fmla="*/ 2897733 h 6868800"/>
              <a:gd name="connsiteX17" fmla="*/ 0 w 5560752"/>
              <a:gd name="connsiteY17" fmla="*/ 0 h 6868800"/>
              <a:gd name="connsiteX18" fmla="*/ 5560752 w 5560752"/>
              <a:gd name="connsiteY18" fmla="*/ 0 h 6868800"/>
              <a:gd name="connsiteX19" fmla="*/ 5560752 w 5560752"/>
              <a:gd name="connsiteY19" fmla="*/ 6868800 h 6868800"/>
              <a:gd name="connsiteX20" fmla="*/ 2621885 w 5560752"/>
              <a:gd name="connsiteY20" fmla="*/ 6868800 h 6868800"/>
              <a:gd name="connsiteX21" fmla="*/ 2418035 w 5560752"/>
              <a:gd name="connsiteY21" fmla="*/ 6334754 h 6868800"/>
              <a:gd name="connsiteX22" fmla="*/ 2794373 w 5560752"/>
              <a:gd name="connsiteY22" fmla="*/ 2860946 h 6868800"/>
              <a:gd name="connsiteX23" fmla="*/ 2604149 w 5560752"/>
              <a:gd name="connsiteY23" fmla="*/ 3306692 h 6868800"/>
              <a:gd name="connsiteX24" fmla="*/ 1262196 w 5560752"/>
              <a:gd name="connsiteY24" fmla="*/ 3306692 h 6868800"/>
              <a:gd name="connsiteX25" fmla="*/ 0 w 5560752"/>
              <a:gd name="connsiteY25"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3100461 w 5560752"/>
              <a:gd name="connsiteY5" fmla="*/ 3608540 h 6868800"/>
              <a:gd name="connsiteX6" fmla="*/ 1934805 w 5560752"/>
              <a:gd name="connsiteY6" fmla="*/ 5064727 h 6868800"/>
              <a:gd name="connsiteX7" fmla="*/ 1917376 w 5560752"/>
              <a:gd name="connsiteY7" fmla="*/ 5018866 h 6868800"/>
              <a:gd name="connsiteX8" fmla="*/ 2523173 w 5560752"/>
              <a:gd name="connsiteY8" fmla="*/ 3608540 h 6868800"/>
              <a:gd name="connsiteX9" fmla="*/ 1381398 w 5560752"/>
              <a:gd name="connsiteY9" fmla="*/ 3608540 h 6868800"/>
              <a:gd name="connsiteX10" fmla="*/ 2475335 w 5560752"/>
              <a:gd name="connsiteY10" fmla="*/ 3608540 h 6868800"/>
              <a:gd name="connsiteX11" fmla="*/ 1896695 w 5560752"/>
              <a:gd name="connsiteY11" fmla="*/ 4964449 h 6868800"/>
              <a:gd name="connsiteX12" fmla="*/ 1381398 w 5560752"/>
              <a:gd name="connsiteY12" fmla="*/ 3608540 h 6868800"/>
              <a:gd name="connsiteX13" fmla="*/ 2828495 w 5560752"/>
              <a:gd name="connsiteY13" fmla="*/ 2897733 h 6868800"/>
              <a:gd name="connsiteX14" fmla="*/ 2652829 w 5560752"/>
              <a:gd name="connsiteY14" fmla="*/ 3306692 h 6868800"/>
              <a:gd name="connsiteX15" fmla="*/ 2828495 w 5560752"/>
              <a:gd name="connsiteY15" fmla="*/ 2897733 h 6868800"/>
              <a:gd name="connsiteX16" fmla="*/ 0 w 5560752"/>
              <a:gd name="connsiteY16" fmla="*/ 0 h 6868800"/>
              <a:gd name="connsiteX17" fmla="*/ 5560752 w 5560752"/>
              <a:gd name="connsiteY17" fmla="*/ 0 h 6868800"/>
              <a:gd name="connsiteX18" fmla="*/ 5560752 w 5560752"/>
              <a:gd name="connsiteY18" fmla="*/ 6868800 h 6868800"/>
              <a:gd name="connsiteX19" fmla="*/ 2621885 w 5560752"/>
              <a:gd name="connsiteY19" fmla="*/ 6868800 h 6868800"/>
              <a:gd name="connsiteX20" fmla="*/ 2418035 w 5560752"/>
              <a:gd name="connsiteY20" fmla="*/ 6334754 h 6868800"/>
              <a:gd name="connsiteX21" fmla="*/ 2794373 w 5560752"/>
              <a:gd name="connsiteY21" fmla="*/ 2860946 h 6868800"/>
              <a:gd name="connsiteX22" fmla="*/ 2604149 w 5560752"/>
              <a:gd name="connsiteY22" fmla="*/ 3306692 h 6868800"/>
              <a:gd name="connsiteX23" fmla="*/ 1262196 w 5560752"/>
              <a:gd name="connsiteY23" fmla="*/ 3306692 h 6868800"/>
              <a:gd name="connsiteX24" fmla="*/ 0 w 5560752"/>
              <a:gd name="connsiteY24"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2523173 w 5560752"/>
              <a:gd name="connsiteY4" fmla="*/ 3608540 h 6868800"/>
              <a:gd name="connsiteX5" fmla="*/ 1934805 w 5560752"/>
              <a:gd name="connsiteY5" fmla="*/ 5064727 h 6868800"/>
              <a:gd name="connsiteX6" fmla="*/ 1917376 w 5560752"/>
              <a:gd name="connsiteY6" fmla="*/ 5018866 h 6868800"/>
              <a:gd name="connsiteX7" fmla="*/ 2523173 w 5560752"/>
              <a:gd name="connsiteY7" fmla="*/ 3608540 h 6868800"/>
              <a:gd name="connsiteX8" fmla="*/ 1381398 w 5560752"/>
              <a:gd name="connsiteY8" fmla="*/ 3608540 h 6868800"/>
              <a:gd name="connsiteX9" fmla="*/ 2475335 w 5560752"/>
              <a:gd name="connsiteY9" fmla="*/ 3608540 h 6868800"/>
              <a:gd name="connsiteX10" fmla="*/ 1896695 w 5560752"/>
              <a:gd name="connsiteY10" fmla="*/ 4964449 h 6868800"/>
              <a:gd name="connsiteX11" fmla="*/ 1381398 w 5560752"/>
              <a:gd name="connsiteY11" fmla="*/ 3608540 h 6868800"/>
              <a:gd name="connsiteX12" fmla="*/ 2828495 w 5560752"/>
              <a:gd name="connsiteY12" fmla="*/ 2897733 h 6868800"/>
              <a:gd name="connsiteX13" fmla="*/ 2652829 w 5560752"/>
              <a:gd name="connsiteY13" fmla="*/ 3306692 h 6868800"/>
              <a:gd name="connsiteX14" fmla="*/ 2828495 w 5560752"/>
              <a:gd name="connsiteY14" fmla="*/ 2897733 h 6868800"/>
              <a:gd name="connsiteX15" fmla="*/ 0 w 5560752"/>
              <a:gd name="connsiteY15" fmla="*/ 0 h 6868800"/>
              <a:gd name="connsiteX16" fmla="*/ 5560752 w 5560752"/>
              <a:gd name="connsiteY16" fmla="*/ 0 h 6868800"/>
              <a:gd name="connsiteX17" fmla="*/ 5560752 w 5560752"/>
              <a:gd name="connsiteY17" fmla="*/ 6868800 h 6868800"/>
              <a:gd name="connsiteX18" fmla="*/ 2621885 w 5560752"/>
              <a:gd name="connsiteY18" fmla="*/ 6868800 h 6868800"/>
              <a:gd name="connsiteX19" fmla="*/ 2418035 w 5560752"/>
              <a:gd name="connsiteY19" fmla="*/ 6334754 h 6868800"/>
              <a:gd name="connsiteX20" fmla="*/ 2794373 w 5560752"/>
              <a:gd name="connsiteY20" fmla="*/ 2860946 h 6868800"/>
              <a:gd name="connsiteX21" fmla="*/ 2604149 w 5560752"/>
              <a:gd name="connsiteY21" fmla="*/ 3306692 h 6868800"/>
              <a:gd name="connsiteX22" fmla="*/ 1262196 w 5560752"/>
              <a:gd name="connsiteY22" fmla="*/ 3306692 h 6868800"/>
              <a:gd name="connsiteX23" fmla="*/ 0 w 5560752"/>
              <a:gd name="connsiteY23"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2828495 w 5560752"/>
              <a:gd name="connsiteY11" fmla="*/ 2897733 h 6868800"/>
              <a:gd name="connsiteX12" fmla="*/ 2652829 w 5560752"/>
              <a:gd name="connsiteY12" fmla="*/ 3306692 h 6868800"/>
              <a:gd name="connsiteX13" fmla="*/ 2828495 w 5560752"/>
              <a:gd name="connsiteY13" fmla="*/ 2897733 h 6868800"/>
              <a:gd name="connsiteX14" fmla="*/ 0 w 5560752"/>
              <a:gd name="connsiteY14" fmla="*/ 0 h 6868800"/>
              <a:gd name="connsiteX15" fmla="*/ 5560752 w 5560752"/>
              <a:gd name="connsiteY15" fmla="*/ 0 h 6868800"/>
              <a:gd name="connsiteX16" fmla="*/ 5560752 w 5560752"/>
              <a:gd name="connsiteY16" fmla="*/ 6868800 h 6868800"/>
              <a:gd name="connsiteX17" fmla="*/ 2621885 w 5560752"/>
              <a:gd name="connsiteY17" fmla="*/ 6868800 h 6868800"/>
              <a:gd name="connsiteX18" fmla="*/ 2418035 w 5560752"/>
              <a:gd name="connsiteY18" fmla="*/ 6334754 h 6868800"/>
              <a:gd name="connsiteX19" fmla="*/ 2794373 w 5560752"/>
              <a:gd name="connsiteY19" fmla="*/ 2860946 h 6868800"/>
              <a:gd name="connsiteX20" fmla="*/ 2604149 w 5560752"/>
              <a:gd name="connsiteY20" fmla="*/ 3306692 h 6868800"/>
              <a:gd name="connsiteX21" fmla="*/ 1262196 w 5560752"/>
              <a:gd name="connsiteY21" fmla="*/ 3306692 h 6868800"/>
              <a:gd name="connsiteX22" fmla="*/ 0 w 5560752"/>
              <a:gd name="connsiteY22" fmla="*/ 0 h 6868800"/>
              <a:gd name="connsiteX0" fmla="*/ 1949917 w 5560752"/>
              <a:gd name="connsiteY0" fmla="*/ 5104493 h 6868800"/>
              <a:gd name="connsiteX1" fmla="*/ 2300314 w 5560752"/>
              <a:gd name="connsiteY1" fmla="*/ 6026350 h 6868800"/>
              <a:gd name="connsiteX2" fmla="*/ 2287475 w 5560752"/>
              <a:gd name="connsiteY2" fmla="*/ 5992714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2461592 w 5560752"/>
              <a:gd name="connsiteY2" fmla="*/ 5073845 h 6868800"/>
              <a:gd name="connsiteX3" fmla="*/ 1949917 w 5560752"/>
              <a:gd name="connsiteY3" fmla="*/ 5104493 h 6868800"/>
              <a:gd name="connsiteX4" fmla="*/ 1917376 w 5560752"/>
              <a:gd name="connsiteY4" fmla="*/ 5018866 h 6868800"/>
              <a:gd name="connsiteX5" fmla="*/ 1934805 w 5560752"/>
              <a:gd name="connsiteY5" fmla="*/ 5064727 h 6868800"/>
              <a:gd name="connsiteX6" fmla="*/ 1917376 w 5560752"/>
              <a:gd name="connsiteY6" fmla="*/ 5018866 h 6868800"/>
              <a:gd name="connsiteX7" fmla="*/ 1381398 w 5560752"/>
              <a:gd name="connsiteY7" fmla="*/ 3608540 h 6868800"/>
              <a:gd name="connsiteX8" fmla="*/ 2475335 w 5560752"/>
              <a:gd name="connsiteY8" fmla="*/ 3608540 h 6868800"/>
              <a:gd name="connsiteX9" fmla="*/ 1896695 w 5560752"/>
              <a:gd name="connsiteY9" fmla="*/ 4964449 h 6868800"/>
              <a:gd name="connsiteX10" fmla="*/ 1381398 w 5560752"/>
              <a:gd name="connsiteY10" fmla="*/ 3608540 h 6868800"/>
              <a:gd name="connsiteX11" fmla="*/ 0 w 5560752"/>
              <a:gd name="connsiteY11" fmla="*/ 0 h 6868800"/>
              <a:gd name="connsiteX12" fmla="*/ 5560752 w 5560752"/>
              <a:gd name="connsiteY12" fmla="*/ 0 h 6868800"/>
              <a:gd name="connsiteX13" fmla="*/ 5560752 w 5560752"/>
              <a:gd name="connsiteY13" fmla="*/ 6868800 h 6868800"/>
              <a:gd name="connsiteX14" fmla="*/ 2621885 w 5560752"/>
              <a:gd name="connsiteY14" fmla="*/ 6868800 h 6868800"/>
              <a:gd name="connsiteX15" fmla="*/ 2418035 w 5560752"/>
              <a:gd name="connsiteY15" fmla="*/ 6334754 h 6868800"/>
              <a:gd name="connsiteX16" fmla="*/ 2794373 w 5560752"/>
              <a:gd name="connsiteY16" fmla="*/ 2860946 h 6868800"/>
              <a:gd name="connsiteX17" fmla="*/ 2604149 w 5560752"/>
              <a:gd name="connsiteY17" fmla="*/ 3306692 h 6868800"/>
              <a:gd name="connsiteX18" fmla="*/ 1262196 w 5560752"/>
              <a:gd name="connsiteY18" fmla="*/ 3306692 h 6868800"/>
              <a:gd name="connsiteX19" fmla="*/ 0 w 5560752"/>
              <a:gd name="connsiteY19" fmla="*/ 0 h 6868800"/>
              <a:gd name="connsiteX0" fmla="*/ 1949917 w 5560752"/>
              <a:gd name="connsiteY0" fmla="*/ 5104493 h 6868800"/>
              <a:gd name="connsiteX1" fmla="*/ 2300314 w 5560752"/>
              <a:gd name="connsiteY1" fmla="*/ 6026350 h 6868800"/>
              <a:gd name="connsiteX2" fmla="*/ 1949917 w 5560752"/>
              <a:gd name="connsiteY2" fmla="*/ 5104493 h 6868800"/>
              <a:gd name="connsiteX3" fmla="*/ 1917376 w 5560752"/>
              <a:gd name="connsiteY3" fmla="*/ 5018866 h 6868800"/>
              <a:gd name="connsiteX4" fmla="*/ 1934805 w 5560752"/>
              <a:gd name="connsiteY4" fmla="*/ 5064727 h 6868800"/>
              <a:gd name="connsiteX5" fmla="*/ 1917376 w 5560752"/>
              <a:gd name="connsiteY5" fmla="*/ 5018866 h 6868800"/>
              <a:gd name="connsiteX6" fmla="*/ 1381398 w 5560752"/>
              <a:gd name="connsiteY6" fmla="*/ 3608540 h 6868800"/>
              <a:gd name="connsiteX7" fmla="*/ 2475335 w 5560752"/>
              <a:gd name="connsiteY7" fmla="*/ 3608540 h 6868800"/>
              <a:gd name="connsiteX8" fmla="*/ 1896695 w 5560752"/>
              <a:gd name="connsiteY8" fmla="*/ 4964449 h 6868800"/>
              <a:gd name="connsiteX9" fmla="*/ 1381398 w 5560752"/>
              <a:gd name="connsiteY9" fmla="*/ 3608540 h 6868800"/>
              <a:gd name="connsiteX10" fmla="*/ 0 w 5560752"/>
              <a:gd name="connsiteY10" fmla="*/ 0 h 6868800"/>
              <a:gd name="connsiteX11" fmla="*/ 5560752 w 5560752"/>
              <a:gd name="connsiteY11" fmla="*/ 0 h 6868800"/>
              <a:gd name="connsiteX12" fmla="*/ 5560752 w 5560752"/>
              <a:gd name="connsiteY12" fmla="*/ 6868800 h 6868800"/>
              <a:gd name="connsiteX13" fmla="*/ 2621885 w 5560752"/>
              <a:gd name="connsiteY13" fmla="*/ 6868800 h 6868800"/>
              <a:gd name="connsiteX14" fmla="*/ 2418035 w 5560752"/>
              <a:gd name="connsiteY14" fmla="*/ 6334754 h 6868800"/>
              <a:gd name="connsiteX15" fmla="*/ 2794373 w 5560752"/>
              <a:gd name="connsiteY15" fmla="*/ 2860946 h 6868800"/>
              <a:gd name="connsiteX16" fmla="*/ 2604149 w 5560752"/>
              <a:gd name="connsiteY16" fmla="*/ 3306692 h 6868800"/>
              <a:gd name="connsiteX17" fmla="*/ 1262196 w 5560752"/>
              <a:gd name="connsiteY17" fmla="*/ 3306692 h 6868800"/>
              <a:gd name="connsiteX18" fmla="*/ 0 w 5560752"/>
              <a:gd name="connsiteY18"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896695 w 5560752"/>
              <a:gd name="connsiteY5" fmla="*/ 4964449 h 6868800"/>
              <a:gd name="connsiteX6" fmla="*/ 1381398 w 5560752"/>
              <a:gd name="connsiteY6" fmla="*/ 3608540 h 6868800"/>
              <a:gd name="connsiteX7" fmla="*/ 0 w 5560752"/>
              <a:gd name="connsiteY7" fmla="*/ 0 h 6868800"/>
              <a:gd name="connsiteX8" fmla="*/ 5560752 w 5560752"/>
              <a:gd name="connsiteY8" fmla="*/ 0 h 6868800"/>
              <a:gd name="connsiteX9" fmla="*/ 5560752 w 5560752"/>
              <a:gd name="connsiteY9" fmla="*/ 6868800 h 6868800"/>
              <a:gd name="connsiteX10" fmla="*/ 2621885 w 5560752"/>
              <a:gd name="connsiteY10" fmla="*/ 6868800 h 6868800"/>
              <a:gd name="connsiteX11" fmla="*/ 2418035 w 5560752"/>
              <a:gd name="connsiteY11" fmla="*/ 6334754 h 6868800"/>
              <a:gd name="connsiteX12" fmla="*/ 2794373 w 5560752"/>
              <a:gd name="connsiteY12" fmla="*/ 2860946 h 6868800"/>
              <a:gd name="connsiteX13" fmla="*/ 2604149 w 5560752"/>
              <a:gd name="connsiteY13" fmla="*/ 3306692 h 6868800"/>
              <a:gd name="connsiteX14" fmla="*/ 1262196 w 5560752"/>
              <a:gd name="connsiteY14" fmla="*/ 3306692 h 6868800"/>
              <a:gd name="connsiteX15" fmla="*/ 0 w 5560752"/>
              <a:gd name="connsiteY15" fmla="*/ 0 h 6868800"/>
              <a:gd name="connsiteX0" fmla="*/ 1917376 w 5560752"/>
              <a:gd name="connsiteY0" fmla="*/ 5018866 h 6868800"/>
              <a:gd name="connsiteX1" fmla="*/ 1934805 w 5560752"/>
              <a:gd name="connsiteY1" fmla="*/ 5064727 h 6868800"/>
              <a:gd name="connsiteX2" fmla="*/ 1917376 w 5560752"/>
              <a:gd name="connsiteY2" fmla="*/ 5018866 h 6868800"/>
              <a:gd name="connsiteX3" fmla="*/ 1381398 w 5560752"/>
              <a:gd name="connsiteY3" fmla="*/ 3608540 h 6868800"/>
              <a:gd name="connsiteX4" fmla="*/ 2475335 w 5560752"/>
              <a:gd name="connsiteY4" fmla="*/ 3608540 h 6868800"/>
              <a:gd name="connsiteX5" fmla="*/ 1381398 w 5560752"/>
              <a:gd name="connsiteY5" fmla="*/ 3608540 h 6868800"/>
              <a:gd name="connsiteX6" fmla="*/ 0 w 5560752"/>
              <a:gd name="connsiteY6" fmla="*/ 0 h 6868800"/>
              <a:gd name="connsiteX7" fmla="*/ 5560752 w 5560752"/>
              <a:gd name="connsiteY7" fmla="*/ 0 h 6868800"/>
              <a:gd name="connsiteX8" fmla="*/ 5560752 w 5560752"/>
              <a:gd name="connsiteY8" fmla="*/ 6868800 h 6868800"/>
              <a:gd name="connsiteX9" fmla="*/ 2621885 w 5560752"/>
              <a:gd name="connsiteY9" fmla="*/ 6868800 h 6868800"/>
              <a:gd name="connsiteX10" fmla="*/ 2418035 w 5560752"/>
              <a:gd name="connsiteY10" fmla="*/ 6334754 h 6868800"/>
              <a:gd name="connsiteX11" fmla="*/ 2794373 w 5560752"/>
              <a:gd name="connsiteY11" fmla="*/ 2860946 h 6868800"/>
              <a:gd name="connsiteX12" fmla="*/ 2604149 w 5560752"/>
              <a:gd name="connsiteY12" fmla="*/ 3306692 h 6868800"/>
              <a:gd name="connsiteX13" fmla="*/ 1262196 w 5560752"/>
              <a:gd name="connsiteY13" fmla="*/ 3306692 h 6868800"/>
              <a:gd name="connsiteX14" fmla="*/ 0 w 5560752"/>
              <a:gd name="connsiteY14" fmla="*/ 0 h 6868800"/>
              <a:gd name="connsiteX0" fmla="*/ 1381398 w 5560752"/>
              <a:gd name="connsiteY0" fmla="*/ 3608540 h 6868800"/>
              <a:gd name="connsiteX1" fmla="*/ 2475335 w 5560752"/>
              <a:gd name="connsiteY1" fmla="*/ 3608540 h 6868800"/>
              <a:gd name="connsiteX2" fmla="*/ 1381398 w 5560752"/>
              <a:gd name="connsiteY2" fmla="*/ 3608540 h 6868800"/>
              <a:gd name="connsiteX3" fmla="*/ 0 w 5560752"/>
              <a:gd name="connsiteY3" fmla="*/ 0 h 6868800"/>
              <a:gd name="connsiteX4" fmla="*/ 5560752 w 5560752"/>
              <a:gd name="connsiteY4" fmla="*/ 0 h 6868800"/>
              <a:gd name="connsiteX5" fmla="*/ 5560752 w 5560752"/>
              <a:gd name="connsiteY5" fmla="*/ 6868800 h 6868800"/>
              <a:gd name="connsiteX6" fmla="*/ 2621885 w 5560752"/>
              <a:gd name="connsiteY6" fmla="*/ 6868800 h 6868800"/>
              <a:gd name="connsiteX7" fmla="*/ 2418035 w 5560752"/>
              <a:gd name="connsiteY7" fmla="*/ 6334754 h 6868800"/>
              <a:gd name="connsiteX8" fmla="*/ 2794373 w 5560752"/>
              <a:gd name="connsiteY8" fmla="*/ 2860946 h 6868800"/>
              <a:gd name="connsiteX9" fmla="*/ 2604149 w 5560752"/>
              <a:gd name="connsiteY9" fmla="*/ 3306692 h 6868800"/>
              <a:gd name="connsiteX10" fmla="*/ 1262196 w 5560752"/>
              <a:gd name="connsiteY10" fmla="*/ 3306692 h 6868800"/>
              <a:gd name="connsiteX11" fmla="*/ 0 w 5560752"/>
              <a:gd name="connsiteY11"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794373 w 5560752"/>
              <a:gd name="connsiteY5" fmla="*/ 2860946 h 6868800"/>
              <a:gd name="connsiteX6" fmla="*/ 2604149 w 5560752"/>
              <a:gd name="connsiteY6" fmla="*/ 3306692 h 6868800"/>
              <a:gd name="connsiteX7" fmla="*/ 1262196 w 5560752"/>
              <a:gd name="connsiteY7" fmla="*/ 3306692 h 6868800"/>
              <a:gd name="connsiteX8" fmla="*/ 0 w 5560752"/>
              <a:gd name="connsiteY8"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418035 w 5560752"/>
              <a:gd name="connsiteY4" fmla="*/ 6334754 h 6868800"/>
              <a:gd name="connsiteX5" fmla="*/ 2604149 w 5560752"/>
              <a:gd name="connsiteY5" fmla="*/ 3306692 h 6868800"/>
              <a:gd name="connsiteX6" fmla="*/ 1262196 w 5560752"/>
              <a:gd name="connsiteY6" fmla="*/ 3306692 h 6868800"/>
              <a:gd name="connsiteX7" fmla="*/ 0 w 5560752"/>
              <a:gd name="connsiteY7"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2604149 w 5560752"/>
              <a:gd name="connsiteY4" fmla="*/ 3306692 h 6868800"/>
              <a:gd name="connsiteX5" fmla="*/ 1262196 w 5560752"/>
              <a:gd name="connsiteY5" fmla="*/ 3306692 h 6868800"/>
              <a:gd name="connsiteX6" fmla="*/ 0 w 5560752"/>
              <a:gd name="connsiteY6"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1262196 w 5560752"/>
              <a:gd name="connsiteY4" fmla="*/ 3306692 h 6868800"/>
              <a:gd name="connsiteX5" fmla="*/ 0 w 5560752"/>
              <a:gd name="connsiteY5" fmla="*/ 0 h 6868800"/>
              <a:gd name="connsiteX0" fmla="*/ 0 w 5560752"/>
              <a:gd name="connsiteY0" fmla="*/ 0 h 6868800"/>
              <a:gd name="connsiteX1" fmla="*/ 5560752 w 5560752"/>
              <a:gd name="connsiteY1" fmla="*/ 0 h 6868800"/>
              <a:gd name="connsiteX2" fmla="*/ 5560752 w 5560752"/>
              <a:gd name="connsiteY2" fmla="*/ 6868800 h 6868800"/>
              <a:gd name="connsiteX3" fmla="*/ 2621885 w 5560752"/>
              <a:gd name="connsiteY3" fmla="*/ 6868800 h 6868800"/>
              <a:gd name="connsiteX4" fmla="*/ 0 w 5560752"/>
              <a:gd name="connsiteY4" fmla="*/ 0 h 6868800"/>
              <a:gd name="connsiteX0" fmla="*/ 1254105 w 6814857"/>
              <a:gd name="connsiteY0" fmla="*/ 0 h 6909943"/>
              <a:gd name="connsiteX1" fmla="*/ 6814857 w 6814857"/>
              <a:gd name="connsiteY1" fmla="*/ 0 h 6909943"/>
              <a:gd name="connsiteX2" fmla="*/ 6814857 w 6814857"/>
              <a:gd name="connsiteY2" fmla="*/ 6868800 h 6909943"/>
              <a:gd name="connsiteX3" fmla="*/ 0 w 6814857"/>
              <a:gd name="connsiteY3" fmla="*/ 6909943 h 6909943"/>
              <a:gd name="connsiteX4" fmla="*/ 1254105 w 6814857"/>
              <a:gd name="connsiteY4" fmla="*/ 0 h 6909943"/>
              <a:gd name="connsiteX0" fmla="*/ 1246535 w 6807287"/>
              <a:gd name="connsiteY0" fmla="*/ 0 h 6868800"/>
              <a:gd name="connsiteX1" fmla="*/ 6807287 w 6807287"/>
              <a:gd name="connsiteY1" fmla="*/ 0 h 6868800"/>
              <a:gd name="connsiteX2" fmla="*/ 6807287 w 6807287"/>
              <a:gd name="connsiteY2" fmla="*/ 6868800 h 6868800"/>
              <a:gd name="connsiteX3" fmla="*/ 0 w 6807287"/>
              <a:gd name="connsiteY3" fmla="*/ 6841371 h 6868800"/>
              <a:gd name="connsiteX4" fmla="*/ 1246535 w 6807287"/>
              <a:gd name="connsiteY4" fmla="*/ 0 h 6868800"/>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246535 w 6807287"/>
              <a:gd name="connsiteY0" fmla="*/ 0 h 6841371"/>
              <a:gd name="connsiteX1" fmla="*/ 6807287 w 6807287"/>
              <a:gd name="connsiteY1" fmla="*/ 0 h 6841371"/>
              <a:gd name="connsiteX2" fmla="*/ 6792146 w 6807287"/>
              <a:gd name="connsiteY2" fmla="*/ 6813942 h 6841371"/>
              <a:gd name="connsiteX3" fmla="*/ 0 w 6807287"/>
              <a:gd name="connsiteY3" fmla="*/ 6841371 h 6841371"/>
              <a:gd name="connsiteX4" fmla="*/ 1246535 w 6807287"/>
              <a:gd name="connsiteY4" fmla="*/ 0 h 6841371"/>
              <a:gd name="connsiteX0" fmla="*/ 1105735 w 6807287"/>
              <a:gd name="connsiteY0" fmla="*/ 0 h 6851748"/>
              <a:gd name="connsiteX1" fmla="*/ 6807287 w 6807287"/>
              <a:gd name="connsiteY1" fmla="*/ 10377 h 6851748"/>
              <a:gd name="connsiteX2" fmla="*/ 6792146 w 6807287"/>
              <a:gd name="connsiteY2" fmla="*/ 6824319 h 6851748"/>
              <a:gd name="connsiteX3" fmla="*/ 0 w 6807287"/>
              <a:gd name="connsiteY3" fmla="*/ 6851748 h 6851748"/>
              <a:gd name="connsiteX4" fmla="*/ 1105735 w 6807287"/>
              <a:gd name="connsiteY4" fmla="*/ 0 h 6851748"/>
              <a:gd name="connsiteX0" fmla="*/ 1697095 w 7398647"/>
              <a:gd name="connsiteY0" fmla="*/ 0 h 6841372"/>
              <a:gd name="connsiteX1" fmla="*/ 7398647 w 7398647"/>
              <a:gd name="connsiteY1" fmla="*/ 10377 h 6841372"/>
              <a:gd name="connsiteX2" fmla="*/ 7383506 w 7398647"/>
              <a:gd name="connsiteY2" fmla="*/ 6824319 h 6841372"/>
              <a:gd name="connsiteX3" fmla="*/ 0 w 7398647"/>
              <a:gd name="connsiteY3" fmla="*/ 6841372 h 6841372"/>
              <a:gd name="connsiteX4" fmla="*/ 1697095 w 7398647"/>
              <a:gd name="connsiteY4" fmla="*/ 0 h 6841372"/>
              <a:gd name="connsiteX0" fmla="*/ 1676371 w 7377923"/>
              <a:gd name="connsiteY0" fmla="*/ 0 h 6824319"/>
              <a:gd name="connsiteX1" fmla="*/ 7377923 w 7377923"/>
              <a:gd name="connsiteY1" fmla="*/ 10377 h 6824319"/>
              <a:gd name="connsiteX2" fmla="*/ 7362782 w 7377923"/>
              <a:gd name="connsiteY2" fmla="*/ 6824319 h 6824319"/>
              <a:gd name="connsiteX3" fmla="*/ 0 w 7377923"/>
              <a:gd name="connsiteY3" fmla="*/ 6820161 h 6824319"/>
              <a:gd name="connsiteX4" fmla="*/ 1676371 w 7377923"/>
              <a:gd name="connsiteY4" fmla="*/ 0 h 6824319"/>
              <a:gd name="connsiteX0" fmla="*/ 1674069 w 7377923"/>
              <a:gd name="connsiteY0" fmla="*/ 0 h 6828561"/>
              <a:gd name="connsiteX1" fmla="*/ 7377923 w 7377923"/>
              <a:gd name="connsiteY1" fmla="*/ 14619 h 6828561"/>
              <a:gd name="connsiteX2" fmla="*/ 7362782 w 7377923"/>
              <a:gd name="connsiteY2" fmla="*/ 6828561 h 6828561"/>
              <a:gd name="connsiteX3" fmla="*/ 0 w 7377923"/>
              <a:gd name="connsiteY3" fmla="*/ 6824403 h 6828561"/>
              <a:gd name="connsiteX4" fmla="*/ 1674069 w 7377923"/>
              <a:gd name="connsiteY4" fmla="*/ 0 h 6828561"/>
              <a:gd name="connsiteX0" fmla="*/ 1803605 w 7377923"/>
              <a:gd name="connsiteY0" fmla="*/ 265534 h 6813942"/>
              <a:gd name="connsiteX1" fmla="*/ 7377923 w 7377923"/>
              <a:gd name="connsiteY1" fmla="*/ 0 h 6813942"/>
              <a:gd name="connsiteX2" fmla="*/ 7362782 w 7377923"/>
              <a:gd name="connsiteY2" fmla="*/ 6813942 h 6813942"/>
              <a:gd name="connsiteX3" fmla="*/ 0 w 7377923"/>
              <a:gd name="connsiteY3" fmla="*/ 6809784 h 6813942"/>
              <a:gd name="connsiteX4" fmla="*/ 1803605 w 7377923"/>
              <a:gd name="connsiteY4" fmla="*/ 265534 h 6813942"/>
              <a:gd name="connsiteX0" fmla="*/ 1803605 w 7377923"/>
              <a:gd name="connsiteY0" fmla="*/ 0 h 6548408"/>
              <a:gd name="connsiteX1" fmla="*/ 7377923 w 7377923"/>
              <a:gd name="connsiteY1" fmla="*/ 45746 h 6548408"/>
              <a:gd name="connsiteX2" fmla="*/ 7362782 w 7377923"/>
              <a:gd name="connsiteY2" fmla="*/ 6548408 h 6548408"/>
              <a:gd name="connsiteX3" fmla="*/ 0 w 7377923"/>
              <a:gd name="connsiteY3" fmla="*/ 6544250 h 6548408"/>
              <a:gd name="connsiteX4" fmla="*/ 1803605 w 7377923"/>
              <a:gd name="connsiteY4" fmla="*/ 0 h 6548408"/>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803605 w 7377923"/>
              <a:gd name="connsiteY0" fmla="*/ 37263 h 6585671"/>
              <a:gd name="connsiteX1" fmla="*/ 7377923 w 7377923"/>
              <a:gd name="connsiteY1" fmla="*/ 0 h 6585671"/>
              <a:gd name="connsiteX2" fmla="*/ 7362782 w 7377923"/>
              <a:gd name="connsiteY2" fmla="*/ 6585671 h 6585671"/>
              <a:gd name="connsiteX3" fmla="*/ 0 w 7377923"/>
              <a:gd name="connsiteY3" fmla="*/ 6581513 h 6585671"/>
              <a:gd name="connsiteX4" fmla="*/ 1803605 w 7377923"/>
              <a:gd name="connsiteY4" fmla="*/ 37263 h 6585671"/>
              <a:gd name="connsiteX0" fmla="*/ 158959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89590 w 7163908"/>
              <a:gd name="connsiteY4" fmla="*/ 37263 h 6623017"/>
              <a:gd name="connsiteX0" fmla="*/ 1533270 w 7163908"/>
              <a:gd name="connsiteY0" fmla="*/ 37263 h 6623017"/>
              <a:gd name="connsiteX1" fmla="*/ 7163908 w 7163908"/>
              <a:gd name="connsiteY1" fmla="*/ 0 h 6623017"/>
              <a:gd name="connsiteX2" fmla="*/ 7148767 w 7163908"/>
              <a:gd name="connsiteY2" fmla="*/ 6585671 h 6623017"/>
              <a:gd name="connsiteX3" fmla="*/ 0 w 7163908"/>
              <a:gd name="connsiteY3" fmla="*/ 6623017 h 6623017"/>
              <a:gd name="connsiteX4" fmla="*/ 1533270 w 7163908"/>
              <a:gd name="connsiteY4" fmla="*/ 37263 h 6623017"/>
              <a:gd name="connsiteX0" fmla="*/ 1555798 w 7186436"/>
              <a:gd name="connsiteY0" fmla="*/ 37263 h 6623017"/>
              <a:gd name="connsiteX1" fmla="*/ 7186436 w 7186436"/>
              <a:gd name="connsiteY1" fmla="*/ 0 h 6623017"/>
              <a:gd name="connsiteX2" fmla="*/ 7171295 w 7186436"/>
              <a:gd name="connsiteY2" fmla="*/ 6585671 h 6623017"/>
              <a:gd name="connsiteX3" fmla="*/ 0 w 7186436"/>
              <a:gd name="connsiteY3" fmla="*/ 6623017 h 6623017"/>
              <a:gd name="connsiteX4" fmla="*/ 1555798 w 7186436"/>
              <a:gd name="connsiteY4" fmla="*/ 37263 h 6623017"/>
              <a:gd name="connsiteX0" fmla="*/ 1555798 w 7205087"/>
              <a:gd name="connsiteY0" fmla="*/ 37263 h 6623017"/>
              <a:gd name="connsiteX1" fmla="*/ 7186436 w 7205087"/>
              <a:gd name="connsiteY1" fmla="*/ 0 h 6623017"/>
              <a:gd name="connsiteX2" fmla="*/ 7205087 w 7205087"/>
              <a:gd name="connsiteY2" fmla="*/ 6575295 h 6623017"/>
              <a:gd name="connsiteX3" fmla="*/ 0 w 7205087"/>
              <a:gd name="connsiteY3" fmla="*/ 6623017 h 6623017"/>
              <a:gd name="connsiteX4" fmla="*/ 1555798 w 7205087"/>
              <a:gd name="connsiteY4" fmla="*/ 37263 h 6623017"/>
              <a:gd name="connsiteX0" fmla="*/ 1522005 w 7171294"/>
              <a:gd name="connsiteY0" fmla="*/ 37263 h 6623017"/>
              <a:gd name="connsiteX1" fmla="*/ 7152643 w 7171294"/>
              <a:gd name="connsiteY1" fmla="*/ 0 h 6623017"/>
              <a:gd name="connsiteX2" fmla="*/ 7171294 w 7171294"/>
              <a:gd name="connsiteY2" fmla="*/ 6575295 h 6623017"/>
              <a:gd name="connsiteX3" fmla="*/ 0 w 7171294"/>
              <a:gd name="connsiteY3" fmla="*/ 6623017 h 6623017"/>
              <a:gd name="connsiteX4" fmla="*/ 1522005 w 7171294"/>
              <a:gd name="connsiteY4" fmla="*/ 37263 h 6623017"/>
              <a:gd name="connsiteX0" fmla="*/ 1522005 w 7171295"/>
              <a:gd name="connsiteY0" fmla="*/ 3726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37263 h 6627177"/>
              <a:gd name="connsiteX0" fmla="*/ 1522005 w 7171295"/>
              <a:gd name="connsiteY0" fmla="*/ 64413 h 6627177"/>
              <a:gd name="connsiteX1" fmla="*/ 7152643 w 7171295"/>
              <a:gd name="connsiteY1" fmla="*/ 0 h 6627177"/>
              <a:gd name="connsiteX2" fmla="*/ 7171295 w 7171295"/>
              <a:gd name="connsiteY2" fmla="*/ 6627177 h 6627177"/>
              <a:gd name="connsiteX3" fmla="*/ 0 w 7171295"/>
              <a:gd name="connsiteY3" fmla="*/ 6623017 h 6627177"/>
              <a:gd name="connsiteX4" fmla="*/ 1522005 w 7171295"/>
              <a:gd name="connsiteY4" fmla="*/ 64413 h 6627177"/>
              <a:gd name="connsiteX0" fmla="*/ 1531216 w 7171295"/>
              <a:gd name="connsiteY0" fmla="*/ 13506 h 6627177"/>
              <a:gd name="connsiteX1" fmla="*/ 7152643 w 7171295"/>
              <a:gd name="connsiteY1" fmla="*/ 0 h 6627177"/>
              <a:gd name="connsiteX2" fmla="*/ 7171295 w 7171295"/>
              <a:gd name="connsiteY2" fmla="*/ 6627177 h 6627177"/>
              <a:gd name="connsiteX3" fmla="*/ 0 w 7171295"/>
              <a:gd name="connsiteY3" fmla="*/ 6623017 h 6627177"/>
              <a:gd name="connsiteX4" fmla="*/ 1531216 w 7171295"/>
              <a:gd name="connsiteY4" fmla="*/ 13506 h 6627177"/>
              <a:gd name="connsiteX0" fmla="*/ 1540427 w 7171295"/>
              <a:gd name="connsiteY0" fmla="*/ 0 h 6630640"/>
              <a:gd name="connsiteX1" fmla="*/ 7152643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40427 w 7171295"/>
              <a:gd name="connsiteY0" fmla="*/ 0 h 6630640"/>
              <a:gd name="connsiteX1" fmla="*/ 7148039 w 7171295"/>
              <a:gd name="connsiteY1" fmla="*/ 3463 h 6630640"/>
              <a:gd name="connsiteX2" fmla="*/ 7171295 w 7171295"/>
              <a:gd name="connsiteY2" fmla="*/ 6630640 h 6630640"/>
              <a:gd name="connsiteX3" fmla="*/ 0 w 7171295"/>
              <a:gd name="connsiteY3" fmla="*/ 6626480 h 6630640"/>
              <a:gd name="connsiteX4" fmla="*/ 1540427 w 7171295"/>
              <a:gd name="connsiteY4" fmla="*/ 0 h 6630640"/>
              <a:gd name="connsiteX0" fmla="*/ 1554243 w 7185111"/>
              <a:gd name="connsiteY0" fmla="*/ 0 h 6660418"/>
              <a:gd name="connsiteX1" fmla="*/ 7161855 w 7185111"/>
              <a:gd name="connsiteY1" fmla="*/ 3463 h 6660418"/>
              <a:gd name="connsiteX2" fmla="*/ 7185111 w 7185111"/>
              <a:gd name="connsiteY2" fmla="*/ 6630640 h 6660418"/>
              <a:gd name="connsiteX3" fmla="*/ 0 w 7185111"/>
              <a:gd name="connsiteY3" fmla="*/ 6660418 h 6660418"/>
              <a:gd name="connsiteX4" fmla="*/ 1554243 w 7185111"/>
              <a:gd name="connsiteY4" fmla="*/ 0 h 6660418"/>
              <a:gd name="connsiteX0" fmla="*/ 1545032 w 7175900"/>
              <a:gd name="connsiteY0" fmla="*/ 0 h 6660418"/>
              <a:gd name="connsiteX1" fmla="*/ 7152644 w 7175900"/>
              <a:gd name="connsiteY1" fmla="*/ 3463 h 6660418"/>
              <a:gd name="connsiteX2" fmla="*/ 7175900 w 7175900"/>
              <a:gd name="connsiteY2" fmla="*/ 6630640 h 6660418"/>
              <a:gd name="connsiteX3" fmla="*/ 0 w 7175900"/>
              <a:gd name="connsiteY3" fmla="*/ 6660418 h 6660418"/>
              <a:gd name="connsiteX4" fmla="*/ 1545032 w 7175900"/>
              <a:gd name="connsiteY4" fmla="*/ 0 h 6660418"/>
              <a:gd name="connsiteX0" fmla="*/ 1545032 w 7154465"/>
              <a:gd name="connsiteY0" fmla="*/ 0 h 6673062"/>
              <a:gd name="connsiteX1" fmla="*/ 7152644 w 7154465"/>
              <a:gd name="connsiteY1" fmla="*/ 3463 h 6673062"/>
              <a:gd name="connsiteX2" fmla="*/ 7152874 w 7154465"/>
              <a:gd name="connsiteY2" fmla="*/ 6673062 h 6673062"/>
              <a:gd name="connsiteX3" fmla="*/ 0 w 7154465"/>
              <a:gd name="connsiteY3" fmla="*/ 6660418 h 6673062"/>
              <a:gd name="connsiteX4" fmla="*/ 1545032 w 7154465"/>
              <a:gd name="connsiteY4" fmla="*/ 0 h 6673062"/>
              <a:gd name="connsiteX0" fmla="*/ 1545032 w 7153789"/>
              <a:gd name="connsiteY0" fmla="*/ 0 h 6681546"/>
              <a:gd name="connsiteX1" fmla="*/ 7152644 w 7153789"/>
              <a:gd name="connsiteY1" fmla="*/ 3463 h 6681546"/>
              <a:gd name="connsiteX2" fmla="*/ 7143664 w 7153789"/>
              <a:gd name="connsiteY2" fmla="*/ 6681546 h 6681546"/>
              <a:gd name="connsiteX3" fmla="*/ 0 w 7153789"/>
              <a:gd name="connsiteY3" fmla="*/ 6660418 h 6681546"/>
              <a:gd name="connsiteX4" fmla="*/ 1545032 w 7153789"/>
              <a:gd name="connsiteY4" fmla="*/ 0 h 6681546"/>
              <a:gd name="connsiteX0" fmla="*/ 1549638 w 7158395"/>
              <a:gd name="connsiteY0" fmla="*/ 0 h 6681546"/>
              <a:gd name="connsiteX1" fmla="*/ 7157250 w 7158395"/>
              <a:gd name="connsiteY1" fmla="*/ 3463 h 6681546"/>
              <a:gd name="connsiteX2" fmla="*/ 7148270 w 7158395"/>
              <a:gd name="connsiteY2" fmla="*/ 6681546 h 6681546"/>
              <a:gd name="connsiteX3" fmla="*/ 0 w 7158395"/>
              <a:gd name="connsiteY3" fmla="*/ 6668904 h 6681546"/>
              <a:gd name="connsiteX4" fmla="*/ 1549638 w 7158395"/>
              <a:gd name="connsiteY4" fmla="*/ 0 h 6681546"/>
              <a:gd name="connsiteX0" fmla="*/ 1558849 w 7167606"/>
              <a:gd name="connsiteY0" fmla="*/ 0 h 6681546"/>
              <a:gd name="connsiteX1" fmla="*/ 7166461 w 7167606"/>
              <a:gd name="connsiteY1" fmla="*/ 3463 h 6681546"/>
              <a:gd name="connsiteX2" fmla="*/ 7157481 w 7167606"/>
              <a:gd name="connsiteY2" fmla="*/ 6681546 h 6681546"/>
              <a:gd name="connsiteX3" fmla="*/ 0 w 7167606"/>
              <a:gd name="connsiteY3" fmla="*/ 6677390 h 6681546"/>
              <a:gd name="connsiteX4" fmla="*/ 1558849 w 7167606"/>
              <a:gd name="connsiteY4" fmla="*/ 0 h 6681546"/>
              <a:gd name="connsiteX0" fmla="*/ 1558861 w 7167618"/>
              <a:gd name="connsiteY0" fmla="*/ 0 h 6681546"/>
              <a:gd name="connsiteX1" fmla="*/ 7166473 w 7167618"/>
              <a:gd name="connsiteY1" fmla="*/ 3463 h 6681546"/>
              <a:gd name="connsiteX2" fmla="*/ 7157493 w 7167618"/>
              <a:gd name="connsiteY2" fmla="*/ 6681546 h 6681546"/>
              <a:gd name="connsiteX3" fmla="*/ 12 w 7167618"/>
              <a:gd name="connsiteY3" fmla="*/ 6677390 h 6681546"/>
              <a:gd name="connsiteX4" fmla="*/ 1558861 w 7167618"/>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0 h 6681546"/>
              <a:gd name="connsiteX1" fmla="*/ 7166473 w 7167212"/>
              <a:gd name="connsiteY1" fmla="*/ 3463 h 6681546"/>
              <a:gd name="connsiteX2" fmla="*/ 7143678 w 7167212"/>
              <a:gd name="connsiteY2" fmla="*/ 6681546 h 6681546"/>
              <a:gd name="connsiteX3" fmla="*/ 12 w 7167212"/>
              <a:gd name="connsiteY3" fmla="*/ 6677390 h 6681546"/>
              <a:gd name="connsiteX4" fmla="*/ 1558861 w 7167212"/>
              <a:gd name="connsiteY4" fmla="*/ 0 h 6681546"/>
              <a:gd name="connsiteX0" fmla="*/ 1558861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8861 w 7167212"/>
              <a:gd name="connsiteY4" fmla="*/ 5 h 6681551"/>
              <a:gd name="connsiteX0" fmla="*/ 1554256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54256 w 7167212"/>
              <a:gd name="connsiteY4" fmla="*/ 5 h 6681551"/>
              <a:gd name="connsiteX0" fmla="*/ 1549650 w 7167212"/>
              <a:gd name="connsiteY0" fmla="*/ 5 h 6681551"/>
              <a:gd name="connsiteX1" fmla="*/ 7166473 w 7167212"/>
              <a:gd name="connsiteY1" fmla="*/ 3468 h 6681551"/>
              <a:gd name="connsiteX2" fmla="*/ 7143678 w 7167212"/>
              <a:gd name="connsiteY2" fmla="*/ 6681551 h 6681551"/>
              <a:gd name="connsiteX3" fmla="*/ 12 w 7167212"/>
              <a:gd name="connsiteY3" fmla="*/ 6677395 h 6681551"/>
              <a:gd name="connsiteX4" fmla="*/ 1549650 w 7167212"/>
              <a:gd name="connsiteY4" fmla="*/ 5 h 6681551"/>
              <a:gd name="connsiteX0" fmla="*/ 1391955 w 7167212"/>
              <a:gd name="connsiteY0" fmla="*/ 7014 h 6678184"/>
              <a:gd name="connsiteX1" fmla="*/ 7166473 w 7167212"/>
              <a:gd name="connsiteY1" fmla="*/ 101 h 6678184"/>
              <a:gd name="connsiteX2" fmla="*/ 7143678 w 7167212"/>
              <a:gd name="connsiteY2" fmla="*/ 6678184 h 6678184"/>
              <a:gd name="connsiteX3" fmla="*/ 12 w 7167212"/>
              <a:gd name="connsiteY3" fmla="*/ 6674028 h 6678184"/>
              <a:gd name="connsiteX4" fmla="*/ 1391955 w 7167212"/>
              <a:gd name="connsiteY4" fmla="*/ 7014 h 6678184"/>
              <a:gd name="connsiteX0" fmla="*/ 1437012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37012 w 7212269"/>
              <a:gd name="connsiteY4" fmla="*/ 7014 h 6678184"/>
              <a:gd name="connsiteX0" fmla="*/ 1458504 w 7212269"/>
              <a:gd name="connsiteY0" fmla="*/ 7014 h 6678184"/>
              <a:gd name="connsiteX1" fmla="*/ 7211530 w 7212269"/>
              <a:gd name="connsiteY1" fmla="*/ 101 h 6678184"/>
              <a:gd name="connsiteX2" fmla="*/ 7188735 w 7212269"/>
              <a:gd name="connsiteY2" fmla="*/ 6678184 h 6678184"/>
              <a:gd name="connsiteX3" fmla="*/ 12 w 7212269"/>
              <a:gd name="connsiteY3" fmla="*/ 6674028 h 6678184"/>
              <a:gd name="connsiteX4" fmla="*/ 1458504 w 7212269"/>
              <a:gd name="connsiteY4" fmla="*/ 7014 h 6678184"/>
              <a:gd name="connsiteX0" fmla="*/ 1446224 w 7199989"/>
              <a:gd name="connsiteY0" fmla="*/ 7014 h 6678184"/>
              <a:gd name="connsiteX1" fmla="*/ 7199250 w 7199989"/>
              <a:gd name="connsiteY1" fmla="*/ 101 h 6678184"/>
              <a:gd name="connsiteX2" fmla="*/ 7176455 w 7199989"/>
              <a:gd name="connsiteY2" fmla="*/ 6678184 h 6678184"/>
              <a:gd name="connsiteX3" fmla="*/ 13 w 7199989"/>
              <a:gd name="connsiteY3" fmla="*/ 6674028 h 6678184"/>
              <a:gd name="connsiteX4" fmla="*/ 1446224 w 7199989"/>
              <a:gd name="connsiteY4" fmla="*/ 7014 h 6678184"/>
              <a:gd name="connsiteX0" fmla="*/ 1446247 w 7200012"/>
              <a:gd name="connsiteY0" fmla="*/ 7014 h 6678184"/>
              <a:gd name="connsiteX1" fmla="*/ 7199273 w 7200012"/>
              <a:gd name="connsiteY1" fmla="*/ 101 h 6678184"/>
              <a:gd name="connsiteX2" fmla="*/ 7176478 w 7200012"/>
              <a:gd name="connsiteY2" fmla="*/ 6678184 h 6678184"/>
              <a:gd name="connsiteX3" fmla="*/ 36 w 7200012"/>
              <a:gd name="connsiteY3" fmla="*/ 6674028 h 6678184"/>
              <a:gd name="connsiteX4" fmla="*/ 1446247 w 7200012"/>
              <a:gd name="connsiteY4" fmla="*/ 7014 h 6678184"/>
              <a:gd name="connsiteX0" fmla="*/ 1496934 w 7250699"/>
              <a:gd name="connsiteY0" fmla="*/ 7014 h 6678184"/>
              <a:gd name="connsiteX1" fmla="*/ 7249960 w 7250699"/>
              <a:gd name="connsiteY1" fmla="*/ 101 h 6678184"/>
              <a:gd name="connsiteX2" fmla="*/ 7227165 w 7250699"/>
              <a:gd name="connsiteY2" fmla="*/ 6678184 h 6678184"/>
              <a:gd name="connsiteX3" fmla="*/ 35 w 7250699"/>
              <a:gd name="connsiteY3" fmla="*/ 6674028 h 6678184"/>
              <a:gd name="connsiteX4" fmla="*/ 1496934 w 7250699"/>
              <a:gd name="connsiteY4" fmla="*/ 7014 h 6678184"/>
              <a:gd name="connsiteX0" fmla="*/ 1480039 w 7250699"/>
              <a:gd name="connsiteY0" fmla="*/ 3 h 6681549"/>
              <a:gd name="connsiteX1" fmla="*/ 7249960 w 7250699"/>
              <a:gd name="connsiteY1" fmla="*/ 3466 h 6681549"/>
              <a:gd name="connsiteX2" fmla="*/ 7227165 w 7250699"/>
              <a:gd name="connsiteY2" fmla="*/ 6681549 h 6681549"/>
              <a:gd name="connsiteX3" fmla="*/ 35 w 7250699"/>
              <a:gd name="connsiteY3" fmla="*/ 6677393 h 6681549"/>
              <a:gd name="connsiteX4" fmla="*/ 1480039 w 7250699"/>
              <a:gd name="connsiteY4" fmla="*/ 3 h 6681549"/>
              <a:gd name="connsiteX0" fmla="*/ 1451881 w 7222541"/>
              <a:gd name="connsiteY0" fmla="*/ 3 h 6681549"/>
              <a:gd name="connsiteX1" fmla="*/ 7221802 w 7222541"/>
              <a:gd name="connsiteY1" fmla="*/ 3466 h 6681549"/>
              <a:gd name="connsiteX2" fmla="*/ 7199007 w 7222541"/>
              <a:gd name="connsiteY2" fmla="*/ 6681549 h 6681549"/>
              <a:gd name="connsiteX3" fmla="*/ 37 w 7222541"/>
              <a:gd name="connsiteY3" fmla="*/ 6667015 h 6681549"/>
              <a:gd name="connsiteX4" fmla="*/ 1451881 w 7222541"/>
              <a:gd name="connsiteY4" fmla="*/ 3 h 6681549"/>
              <a:gd name="connsiteX0" fmla="*/ 23061 w 5793721"/>
              <a:gd name="connsiteY0" fmla="*/ 3 h 6684096"/>
              <a:gd name="connsiteX1" fmla="*/ 5792982 w 5793721"/>
              <a:gd name="connsiteY1" fmla="*/ 3466 h 6684096"/>
              <a:gd name="connsiteX2" fmla="*/ 5770187 w 5793721"/>
              <a:gd name="connsiteY2" fmla="*/ 6681549 h 6684096"/>
              <a:gd name="connsiteX3" fmla="*/ 1308 w 5793721"/>
              <a:gd name="connsiteY3" fmla="*/ 6681418 h 6684096"/>
              <a:gd name="connsiteX4" fmla="*/ 23061 w 5793721"/>
              <a:gd name="connsiteY4" fmla="*/ 3 h 6684096"/>
              <a:gd name="connsiteX0" fmla="*/ 23061 w 5792997"/>
              <a:gd name="connsiteY0" fmla="*/ 3 h 6695951"/>
              <a:gd name="connsiteX1" fmla="*/ 5792982 w 5792997"/>
              <a:gd name="connsiteY1" fmla="*/ 3466 h 6695951"/>
              <a:gd name="connsiteX2" fmla="*/ 3768058 w 5792997"/>
              <a:gd name="connsiteY2" fmla="*/ 6695951 h 6695951"/>
              <a:gd name="connsiteX3" fmla="*/ 1308 w 5792997"/>
              <a:gd name="connsiteY3" fmla="*/ 6681418 h 6695951"/>
              <a:gd name="connsiteX4" fmla="*/ 23061 w 5792997"/>
              <a:gd name="connsiteY4" fmla="*/ 3 h 6695951"/>
              <a:gd name="connsiteX0" fmla="*/ 23061 w 5792981"/>
              <a:gd name="connsiteY0" fmla="*/ 3 h 6695951"/>
              <a:gd name="connsiteX1" fmla="*/ 5792982 w 5792981"/>
              <a:gd name="connsiteY1" fmla="*/ 3466 h 6695951"/>
              <a:gd name="connsiteX2" fmla="*/ 3768058 w 5792981"/>
              <a:gd name="connsiteY2" fmla="*/ 6695951 h 6695951"/>
              <a:gd name="connsiteX3" fmla="*/ 1308 w 5792981"/>
              <a:gd name="connsiteY3" fmla="*/ 6681418 h 6695951"/>
              <a:gd name="connsiteX4" fmla="*/ 23061 w 5792981"/>
              <a:gd name="connsiteY4" fmla="*/ 3 h 6695951"/>
              <a:gd name="connsiteX0" fmla="*/ 23061 w 5792983"/>
              <a:gd name="connsiteY0" fmla="*/ 3 h 6695951"/>
              <a:gd name="connsiteX1" fmla="*/ 5792982 w 5792983"/>
              <a:gd name="connsiteY1" fmla="*/ 3466 h 6695951"/>
              <a:gd name="connsiteX2" fmla="*/ 3716984 w 5792983"/>
              <a:gd name="connsiteY2" fmla="*/ 6695951 h 6695951"/>
              <a:gd name="connsiteX3" fmla="*/ 1308 w 5792983"/>
              <a:gd name="connsiteY3" fmla="*/ 6681418 h 6695951"/>
              <a:gd name="connsiteX4" fmla="*/ 23061 w 5792983"/>
              <a:gd name="connsiteY4" fmla="*/ 3 h 6695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2983" h="6695951">
                <a:moveTo>
                  <a:pt x="23061" y="3"/>
                </a:moveTo>
                <a:cubicBezTo>
                  <a:pt x="17893" y="1157"/>
                  <a:pt x="3923778" y="2312"/>
                  <a:pt x="5792982" y="3466"/>
                </a:cubicBezTo>
                <a:lnTo>
                  <a:pt x="3716984" y="6695951"/>
                </a:lnTo>
                <a:cubicBezTo>
                  <a:pt x="3716453" y="6691380"/>
                  <a:pt x="-9679" y="6689244"/>
                  <a:pt x="1308" y="6681418"/>
                </a:cubicBezTo>
                <a:cubicBezTo>
                  <a:pt x="-7155" y="6701196"/>
                  <a:pt x="28454" y="-5634"/>
                  <a:pt x="23061" y="3"/>
                </a:cubicBezTo>
                <a:close/>
              </a:path>
            </a:pathLst>
          </a:custGeom>
        </p:spPr>
        <p:txBody>
          <a:bodyPr tIns="1188000" anchor="t" anchorCtr="0">
            <a:normAutofit/>
          </a:bodyPr>
          <a:lstStyle>
            <a:lvl1pPr marL="0" indent="0" algn="ctr">
              <a:buNone/>
              <a:defRPr sz="833">
                <a:latin typeface="Segoe UI" panose="020B0502040204020203" pitchFamily="34" charset="0"/>
                <a:ea typeface="Segoe UI" panose="020B0502040204020203" pitchFamily="34" charset="0"/>
                <a:cs typeface="Segoe UI" panose="020B0502040204020203" pitchFamily="34" charset="0"/>
              </a:defRPr>
            </a:lvl1pPr>
          </a:lstStyle>
          <a:p>
            <a:r>
              <a:rPr lang="en-US" dirty="0"/>
              <a:t>Click icon to add picture</a:t>
            </a:r>
            <a:endParaRPr lang="en-AU" dirty="0"/>
          </a:p>
        </p:txBody>
      </p:sp>
      <p:sp>
        <p:nvSpPr>
          <p:cNvPr id="10" name="Text Placeholder 9"/>
          <p:cNvSpPr>
            <a:spLocks noGrp="1"/>
          </p:cNvSpPr>
          <p:nvPr>
            <p:ph type="body" sz="quarter" idx="15"/>
          </p:nvPr>
        </p:nvSpPr>
        <p:spPr>
          <a:xfrm>
            <a:off x="2726923" y="1791597"/>
            <a:ext cx="3888432" cy="6716843"/>
          </a:xfrm>
        </p:spPr>
        <p:txBody>
          <a:bodyPr>
            <a:normAutofit/>
          </a:bodyPr>
          <a:lstStyle>
            <a:lvl1pPr marL="0" indent="0">
              <a:buNone/>
              <a:defRPr sz="1042">
                <a:latin typeface="Segoe UI" panose="020B0502040204020203" pitchFamily="34" charset="0"/>
                <a:ea typeface="Segoe UI" panose="020B0502040204020203" pitchFamily="34" charset="0"/>
                <a:cs typeface="Segoe UI" panose="020B0502040204020203" pitchFamily="34" charset="0"/>
              </a:defRPr>
            </a:lvl1pPr>
            <a:lvl2pPr marL="187665" indent="-187665">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2pPr>
            <a:lvl3pPr marL="372849" indent="-185184">
              <a:buClr>
                <a:schemeClr val="accent1"/>
              </a:buClr>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3pPr>
            <a:lvl4pPr marL="561341" indent="-188492">
              <a:buClr>
                <a:schemeClr val="accent1"/>
              </a:buClr>
              <a:buSzPct val="90000"/>
              <a:buFont typeface="Arial" panose="020B0604020202020204" pitchFamily="34" charset="0"/>
              <a:buChar char="•"/>
              <a:defRPr sz="1042">
                <a:latin typeface="Segoe UI" panose="020B0502040204020203" pitchFamily="34" charset="0"/>
                <a:ea typeface="Segoe UI" panose="020B0502040204020203" pitchFamily="34" charset="0"/>
                <a:cs typeface="Segoe UI" panose="020B0502040204020203" pitchFamily="34" charset="0"/>
              </a:defRPr>
            </a:lvl4pPr>
            <a:lvl5pPr marL="749005" indent="-187665">
              <a:defRPr sz="1042"/>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p:cNvSpPr>
            <a:spLocks noGrp="1"/>
          </p:cNvSpPr>
          <p:nvPr>
            <p:ph type="sldNum" sz="quarter" idx="16"/>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1293430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Advisian title &amp; text 2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76946" y="4025909"/>
            <a:ext cx="6102678" cy="1076408"/>
          </a:xfrm>
          <a:prstGeom prst="rect">
            <a:avLst/>
          </a:prstGeom>
        </p:spPr>
        <p:txBody>
          <a:bodyPr vert="horz" lIns="0" tIns="0" rIns="0" bIns="0" rtlCol="0" anchor="ctr" anchorCtr="0">
            <a:normAutofit/>
          </a:bodyPr>
          <a:lstStyle>
            <a:lvl1pPr algn="ctr" rtl="0">
              <a:defRPr b="1">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2" name="Slide Number Placeholder 1"/>
          <p:cNvSpPr>
            <a:spLocks noGrp="1"/>
          </p:cNvSpPr>
          <p:nvPr>
            <p:ph type="sldNum" sz="quarter" idx="12"/>
          </p:nvPr>
        </p:nvSpPr>
        <p:spPr/>
        <p:txBody>
          <a:bodyPr/>
          <a:lstStyle>
            <a:lvl1pPr>
              <a:defRPr>
                <a:solidFill>
                  <a:schemeClr val="bg1">
                    <a:lumMod val="50000"/>
                  </a:schemeClr>
                </a:solidFill>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Tree>
    <p:extLst>
      <p:ext uri="{BB962C8B-B14F-4D97-AF65-F5344CB8AC3E}">
        <p14:creationId xmlns:p14="http://schemas.microsoft.com/office/powerpoint/2010/main" val="3947343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1.emf"/><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oleObject" Target="../embeddings/oleObject5.bin"/><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oleObject" Target="../embeddings/oleObject9.bin"/><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tags" Target="../tags/tag10.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tags" Target="../tags/tag11.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theme" Target="../theme/theme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image" Target="../media/image1.emf"/><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oleObject" Target="../embeddings/oleObject10.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image" Target="../media/image1.emf"/><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oleObject" Target="../embeddings/oleObject11.bin"/><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tags" Target="../tags/tag1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theme" Target="../theme/theme5.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oleObject" Target="../embeddings/oleObject12.bin"/><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tags" Target="../tags/tag13.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theme" Target="../theme/theme6.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4"/>
            </p:custDataLst>
            <p:extLst>
              <p:ext uri="{D42A27DB-BD31-4B8C-83A1-F6EECF244321}">
                <p14:modId xmlns:p14="http://schemas.microsoft.com/office/powerpoint/2010/main" val="3146954719"/>
              </p:ext>
            </p:extLst>
          </p:nvPr>
        </p:nvGraphicFramePr>
        <p:xfrm>
          <a:off x="1192" y="2119"/>
          <a:ext cx="1190" cy="2116"/>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5" name="Object 4" hidden="1"/>
                      <p:cNvPicPr/>
                      <p:nvPr/>
                    </p:nvPicPr>
                    <p:blipFill>
                      <a:blip r:embed="rId26"/>
                      <a:stretch>
                        <a:fillRect/>
                      </a:stretch>
                    </p:blipFill>
                    <p:spPr>
                      <a:xfrm>
                        <a:off x="1192" y="2119"/>
                        <a:ext cx="1190" cy="2116"/>
                      </a:xfrm>
                      <a:prstGeom prst="rect">
                        <a:avLst/>
                      </a:prstGeom>
                    </p:spPr>
                  </p:pic>
                </p:oleObj>
              </mc:Fallback>
            </mc:AlternateContent>
          </a:graphicData>
        </a:graphic>
      </p:graphicFrame>
      <p:sp>
        <p:nvSpPr>
          <p:cNvPr id="2" name="Title Placeholder 1"/>
          <p:cNvSpPr>
            <a:spLocks noGrp="1"/>
          </p:cNvSpPr>
          <p:nvPr>
            <p:ph type="title"/>
          </p:nvPr>
        </p:nvSpPr>
        <p:spPr>
          <a:xfrm>
            <a:off x="591257" y="69128"/>
            <a:ext cx="6102678" cy="1067821"/>
          </a:xfrm>
          <a:prstGeom prst="rect">
            <a:avLst/>
          </a:prstGeom>
        </p:spPr>
        <p:txBody>
          <a:bodyPr vert="horz" lIns="0" tIns="0" rIns="0" bIns="0" rtlCol="0" anchor="b" anchorCtr="0">
            <a:normAutofit/>
          </a:bodyPr>
          <a:lstStyle/>
          <a:p>
            <a:r>
              <a:rPr lang="en-US" dirty="0"/>
              <a:t>Click to edit Master title style</a:t>
            </a:r>
            <a:endParaRPr lang="en-AU" dirty="0"/>
          </a:p>
        </p:txBody>
      </p:sp>
      <p:sp>
        <p:nvSpPr>
          <p:cNvPr id="11" name="Text Placeholder 10"/>
          <p:cNvSpPr>
            <a:spLocks noGrp="1"/>
          </p:cNvSpPr>
          <p:nvPr>
            <p:ph type="body" idx="1"/>
          </p:nvPr>
        </p:nvSpPr>
        <p:spPr>
          <a:xfrm>
            <a:off x="592933" y="1785522"/>
            <a:ext cx="6022423" cy="657254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Slide Number Placeholder 3"/>
          <p:cNvSpPr>
            <a:spLocks noGrp="1"/>
          </p:cNvSpPr>
          <p:nvPr>
            <p:ph type="sldNum" sz="quarter" idx="4"/>
          </p:nvPr>
        </p:nvSpPr>
        <p:spPr>
          <a:xfrm>
            <a:off x="5481228" y="8700459"/>
            <a:ext cx="1134126" cy="261508"/>
          </a:xfrm>
          <a:prstGeom prst="rect">
            <a:avLst/>
          </a:prstGeom>
        </p:spPr>
        <p:txBody>
          <a:bodyPr/>
          <a:lstStyle>
            <a:lvl1pPr algn="r" rtl="0">
              <a:defRPr sz="600" b="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t> Offshore Mining and Civil  / </a:t>
            </a:r>
            <a:fld id="{CFD780AD-5876-4BCA-80DC-E96648A7269F}" type="slidenum">
              <a:rPr lang="en-AU" smtClean="0"/>
              <a:pPr/>
              <a:t>‹#›</a:t>
            </a:fld>
            <a:endParaRPr lang="en-AU" dirty="0"/>
          </a:p>
        </p:txBody>
      </p:sp>
      <p:sp>
        <p:nvSpPr>
          <p:cNvPr id="7" name="Freeform 6"/>
          <p:cNvSpPr/>
          <p:nvPr/>
        </p:nvSpPr>
        <p:spPr>
          <a:xfrm>
            <a:off x="-7063" y="119498"/>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350" dirty="0"/>
          </a:p>
        </p:txBody>
      </p:sp>
      <p:sp>
        <p:nvSpPr>
          <p:cNvPr id="8" name="Parallelogram 11"/>
          <p:cNvSpPr/>
          <p:nvPr/>
        </p:nvSpPr>
        <p:spPr>
          <a:xfrm>
            <a:off x="-7065" y="69129"/>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350" dirty="0"/>
          </a:p>
        </p:txBody>
      </p:sp>
    </p:spTree>
    <p:extLst>
      <p:ext uri="{BB962C8B-B14F-4D97-AF65-F5344CB8AC3E}">
        <p14:creationId xmlns:p14="http://schemas.microsoft.com/office/powerpoint/2010/main" val="569668677"/>
      </p:ext>
    </p:extLst>
  </p:cSld>
  <p:clrMap bg1="lt1" tx1="dk1" bg2="lt2" tx2="dk2" accent1="accent1" accent2="accent2" accent3="accent3" accent4="accent4" accent5="accent5" accent6="accent6" hlink="hlink" folHlink="folHlink"/>
  <p:sldLayoutIdLst>
    <p:sldLayoutId id="2147483757" r:id="rId1"/>
    <p:sldLayoutId id="2147483781" r:id="rId2"/>
    <p:sldLayoutId id="2147483778" r:id="rId3"/>
    <p:sldLayoutId id="2147483758" r:id="rId4"/>
    <p:sldLayoutId id="2147483780" r:id="rId5"/>
    <p:sldLayoutId id="2147483760" r:id="rId6"/>
    <p:sldLayoutId id="2147483761" r:id="rId7"/>
    <p:sldLayoutId id="2147483779" r:id="rId8"/>
    <p:sldLayoutId id="2147483762" r:id="rId9"/>
    <p:sldLayoutId id="2147483764" r:id="rId10"/>
    <p:sldLayoutId id="2147483763" r:id="rId11"/>
    <p:sldLayoutId id="2147483765" r:id="rId12"/>
    <p:sldLayoutId id="2147483776" r:id="rId13"/>
    <p:sldLayoutId id="2147483766" r:id="rId14"/>
    <p:sldLayoutId id="2147483768" r:id="rId15"/>
    <p:sldLayoutId id="2147483767" r:id="rId16"/>
    <p:sldLayoutId id="2147483769" r:id="rId17"/>
    <p:sldLayoutId id="2147483775" r:id="rId18"/>
    <p:sldLayoutId id="2147483770" r:id="rId19"/>
    <p:sldLayoutId id="2147483771" r:id="rId20"/>
    <p:sldLayoutId id="2147483772" r:id="rId21"/>
    <p:sldLayoutId id="214748377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66" rtl="0" eaLnBrk="1" latinLnBrk="0" hangingPunct="1">
        <a:lnSpc>
          <a:spcPct val="100000"/>
        </a:lnSpc>
        <a:spcBef>
          <a:spcPct val="0"/>
        </a:spcBef>
        <a:buNone/>
        <a:defRPr sz="1500" b="1" kern="1200">
          <a:solidFill>
            <a:srgbClr val="162934"/>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0" indent="0" algn="l" defTabSz="685766" rtl="0" eaLnBrk="1" latinLnBrk="0" hangingPunct="1">
        <a:spcBef>
          <a:spcPts val="450"/>
        </a:spcBef>
        <a:spcAft>
          <a:spcPts val="450"/>
        </a:spcAft>
        <a:buClr>
          <a:schemeClr val="accent6"/>
        </a:buClr>
        <a:buFont typeface="Wingdings" pitchFamily="2" charset="2"/>
        <a:buNone/>
        <a:defRPr sz="15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69068" indent="-269068" algn="l" defTabSz="685766" rtl="0" eaLnBrk="1" latinLnBrk="0" hangingPunct="1">
        <a:spcBef>
          <a:spcPts val="450"/>
        </a:spcBef>
        <a:spcAft>
          <a:spcPts val="450"/>
        </a:spcAft>
        <a:buClr>
          <a:schemeClr val="tx2"/>
        </a:buClr>
        <a:buFont typeface="Arial" pitchFamily="34" charset="0"/>
        <a:buChar char="•"/>
        <a:defRPr sz="15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36945" indent="-267878" algn="l" defTabSz="685766" rtl="0" eaLnBrk="1" latinLnBrk="0" hangingPunct="1">
        <a:spcBef>
          <a:spcPts val="450"/>
        </a:spcBef>
        <a:spcAft>
          <a:spcPts val="450"/>
        </a:spcAft>
        <a:buClr>
          <a:schemeClr val="tx2"/>
        </a:buClr>
        <a:buFont typeface="Arial" pitchFamily="34" charset="0"/>
        <a:buChar char="•"/>
        <a:tabLst/>
        <a:defRPr sz="15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06015" indent="-269068" algn="l" defTabSz="685766" rtl="0" eaLnBrk="1" latinLnBrk="0" hangingPunct="1">
        <a:spcBef>
          <a:spcPts val="450"/>
        </a:spcBef>
        <a:spcAft>
          <a:spcPts val="450"/>
        </a:spcAft>
        <a:buClr>
          <a:schemeClr val="tx2"/>
        </a:buClr>
        <a:buFont typeface="Arial" pitchFamily="34" charset="0"/>
        <a:buChar char="•"/>
        <a:defRPr sz="15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73891" indent="-267878" algn="l" defTabSz="685766" rtl="0" eaLnBrk="1" latinLnBrk="0" hangingPunct="1">
        <a:spcBef>
          <a:spcPts val="450"/>
        </a:spcBef>
        <a:spcAft>
          <a:spcPts val="450"/>
        </a:spcAft>
        <a:buClr>
          <a:schemeClr val="tx2"/>
        </a:buClr>
        <a:buFont typeface="Arial" pitchFamily="34" charset="0"/>
        <a:buChar char="•"/>
        <a:defRPr sz="15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277036" indent="-197090" algn="l" defTabSz="685766" rtl="0" eaLnBrk="1" latinLnBrk="0" hangingPunct="1">
        <a:spcBef>
          <a:spcPts val="0"/>
        </a:spcBef>
        <a:spcAft>
          <a:spcPts val="900"/>
        </a:spcAft>
        <a:buClr>
          <a:schemeClr val="bg2"/>
        </a:buClr>
        <a:buFont typeface="Georgia" pitchFamily="18" charset="0"/>
        <a:buChar char="-"/>
        <a:defRPr sz="900" kern="1200">
          <a:solidFill>
            <a:schemeClr val="tx1"/>
          </a:solidFill>
          <a:latin typeface="+mn-lt"/>
          <a:ea typeface="+mn-ea"/>
          <a:cs typeface="+mn-cs"/>
        </a:defRPr>
      </a:lvl6pPr>
      <a:lvl7pPr marL="1474127" indent="-197090" algn="l" defTabSz="685766" rtl="0" eaLnBrk="1" latinLnBrk="0" hangingPunct="1">
        <a:spcBef>
          <a:spcPts val="0"/>
        </a:spcBef>
        <a:spcAft>
          <a:spcPts val="900"/>
        </a:spcAft>
        <a:buClr>
          <a:schemeClr val="bg2"/>
        </a:buClr>
        <a:buFont typeface="Georgia" pitchFamily="18" charset="0"/>
        <a:buChar char="-"/>
        <a:defRPr sz="900" kern="1200">
          <a:solidFill>
            <a:schemeClr val="tx1"/>
          </a:solidFill>
          <a:latin typeface="+mn-lt"/>
          <a:ea typeface="+mn-ea"/>
          <a:cs typeface="+mn-cs"/>
        </a:defRPr>
      </a:lvl7pPr>
      <a:lvl8pPr marL="1671216" indent="-197090" algn="l" defTabSz="685766" rtl="0" eaLnBrk="1" latinLnBrk="0" hangingPunct="1">
        <a:spcBef>
          <a:spcPts val="0"/>
        </a:spcBef>
        <a:spcAft>
          <a:spcPts val="900"/>
        </a:spcAft>
        <a:buClr>
          <a:schemeClr val="bg2"/>
        </a:buClr>
        <a:buFont typeface="Georgia" pitchFamily="18" charset="0"/>
        <a:buChar char="-"/>
        <a:defRPr sz="900" kern="1200">
          <a:solidFill>
            <a:schemeClr val="tx1"/>
          </a:solidFill>
          <a:latin typeface="+mn-lt"/>
          <a:ea typeface="+mn-ea"/>
          <a:cs typeface="+mn-cs"/>
        </a:defRPr>
      </a:lvl8pPr>
      <a:lvl9pPr marL="1868307" indent="-197090" algn="l" defTabSz="685766" rtl="0" eaLnBrk="1" latinLnBrk="0" hangingPunct="1">
        <a:spcBef>
          <a:spcPts val="0"/>
        </a:spcBef>
        <a:spcAft>
          <a:spcPts val="900"/>
        </a:spcAft>
        <a:buClr>
          <a:schemeClr val="bg2"/>
        </a:buClr>
        <a:buFont typeface="Georgia" pitchFamily="18" charset="0"/>
        <a:buChar char="-"/>
        <a:defRPr sz="90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4"/>
            </p:custDataLst>
            <p:extLst>
              <p:ext uri="{D42A27DB-BD31-4B8C-83A1-F6EECF244321}">
                <p14:modId xmlns:p14="http://schemas.microsoft.com/office/powerpoint/2010/main" val="4110326580"/>
              </p:ext>
            </p:extLst>
          </p:nvPr>
        </p:nvGraphicFramePr>
        <p:xfrm>
          <a:off x="1192" y="2119"/>
          <a:ext cx="1190" cy="2116"/>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5" name="Object 4" hidden="1"/>
                      <p:cNvPicPr/>
                      <p:nvPr/>
                    </p:nvPicPr>
                    <p:blipFill>
                      <a:blip r:embed="rId26"/>
                      <a:stretch>
                        <a:fillRect/>
                      </a:stretch>
                    </p:blipFill>
                    <p:spPr>
                      <a:xfrm>
                        <a:off x="1192" y="2119"/>
                        <a:ext cx="1190" cy="2116"/>
                      </a:xfrm>
                      <a:prstGeom prst="rect">
                        <a:avLst/>
                      </a:prstGeom>
                    </p:spPr>
                  </p:pic>
                </p:oleObj>
              </mc:Fallback>
            </mc:AlternateContent>
          </a:graphicData>
        </a:graphic>
      </p:graphicFrame>
      <p:sp>
        <p:nvSpPr>
          <p:cNvPr id="2" name="Title Placeholder 1"/>
          <p:cNvSpPr>
            <a:spLocks noGrp="1"/>
          </p:cNvSpPr>
          <p:nvPr>
            <p:ph type="title"/>
          </p:nvPr>
        </p:nvSpPr>
        <p:spPr>
          <a:xfrm>
            <a:off x="591257" y="69128"/>
            <a:ext cx="6102678" cy="1067821"/>
          </a:xfrm>
          <a:prstGeom prst="rect">
            <a:avLst/>
          </a:prstGeom>
        </p:spPr>
        <p:txBody>
          <a:bodyPr vert="horz" lIns="0" tIns="0" rIns="0" bIns="0" rtlCol="0" anchor="b" anchorCtr="0">
            <a:normAutofit/>
          </a:bodyPr>
          <a:lstStyle/>
          <a:p>
            <a:r>
              <a:rPr lang="en-US" dirty="0"/>
              <a:t>Click to edit Master title style</a:t>
            </a:r>
            <a:endParaRPr lang="en-AU" dirty="0"/>
          </a:p>
        </p:txBody>
      </p:sp>
      <p:sp>
        <p:nvSpPr>
          <p:cNvPr id="11" name="Text Placeholder 10"/>
          <p:cNvSpPr>
            <a:spLocks noGrp="1"/>
          </p:cNvSpPr>
          <p:nvPr>
            <p:ph type="body" idx="1"/>
          </p:nvPr>
        </p:nvSpPr>
        <p:spPr>
          <a:xfrm>
            <a:off x="592933" y="1785522"/>
            <a:ext cx="6022423" cy="657254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Slide Number Placeholder 3"/>
          <p:cNvSpPr>
            <a:spLocks noGrp="1"/>
          </p:cNvSpPr>
          <p:nvPr>
            <p:ph type="sldNum" sz="quarter" idx="4"/>
          </p:nvPr>
        </p:nvSpPr>
        <p:spPr>
          <a:xfrm>
            <a:off x="5481228" y="8700459"/>
            <a:ext cx="1134126" cy="261508"/>
          </a:xfrm>
          <a:prstGeom prst="rect">
            <a:avLst/>
          </a:prstGeom>
        </p:spPr>
        <p:txBody>
          <a:bodyPr/>
          <a:lstStyle>
            <a:lvl1pPr algn="r" rtl="0">
              <a:defRPr sz="600" b="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7" name="Freeform 6"/>
          <p:cNvSpPr/>
          <p:nvPr/>
        </p:nvSpPr>
        <p:spPr>
          <a:xfrm>
            <a:off x="-7063" y="119498"/>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rgbClr val="FFFFFF"/>
              </a:solidFill>
            </a:endParaRPr>
          </a:p>
        </p:txBody>
      </p:sp>
      <p:sp>
        <p:nvSpPr>
          <p:cNvPr id="8" name="Parallelogram 11"/>
          <p:cNvSpPr/>
          <p:nvPr/>
        </p:nvSpPr>
        <p:spPr>
          <a:xfrm>
            <a:off x="-7065" y="69129"/>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rgbClr val="FFFFFF"/>
              </a:solidFill>
            </a:endParaRPr>
          </a:p>
        </p:txBody>
      </p:sp>
    </p:spTree>
    <p:extLst>
      <p:ext uri="{BB962C8B-B14F-4D97-AF65-F5344CB8AC3E}">
        <p14:creationId xmlns:p14="http://schemas.microsoft.com/office/powerpoint/2010/main" val="2282530315"/>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 id="2147484749" r:id="rId8"/>
    <p:sldLayoutId id="2147484750" r:id="rId9"/>
    <p:sldLayoutId id="2147484751" r:id="rId10"/>
    <p:sldLayoutId id="2147484752" r:id="rId11"/>
    <p:sldLayoutId id="2147484753" r:id="rId12"/>
    <p:sldLayoutId id="2147484754" r:id="rId13"/>
    <p:sldLayoutId id="2147484755" r:id="rId14"/>
    <p:sldLayoutId id="2147484756" r:id="rId15"/>
    <p:sldLayoutId id="2147484757" r:id="rId16"/>
    <p:sldLayoutId id="2147484758" r:id="rId17"/>
    <p:sldLayoutId id="2147484759" r:id="rId18"/>
    <p:sldLayoutId id="2147484760" r:id="rId19"/>
    <p:sldLayoutId id="2147484761" r:id="rId20"/>
    <p:sldLayoutId id="2147484762" r:id="rId21"/>
    <p:sldLayoutId id="214748476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66" rtl="0" eaLnBrk="1" latinLnBrk="0" hangingPunct="1">
        <a:lnSpc>
          <a:spcPct val="100000"/>
        </a:lnSpc>
        <a:spcBef>
          <a:spcPct val="0"/>
        </a:spcBef>
        <a:buNone/>
        <a:defRPr sz="1500" b="1" kern="1200">
          <a:solidFill>
            <a:srgbClr val="162934"/>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0" indent="0" algn="l" defTabSz="685766" rtl="0" eaLnBrk="1" latinLnBrk="0" hangingPunct="1">
        <a:spcBef>
          <a:spcPts val="450"/>
        </a:spcBef>
        <a:spcAft>
          <a:spcPts val="450"/>
        </a:spcAft>
        <a:buClr>
          <a:schemeClr val="accent6"/>
        </a:buClr>
        <a:buFont typeface="Wingdings" pitchFamily="2" charset="2"/>
        <a:buNone/>
        <a:defRPr sz="15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69068" indent="-269068" algn="l" defTabSz="685766" rtl="0" eaLnBrk="1" latinLnBrk="0" hangingPunct="1">
        <a:spcBef>
          <a:spcPts val="450"/>
        </a:spcBef>
        <a:spcAft>
          <a:spcPts val="450"/>
        </a:spcAft>
        <a:buClr>
          <a:schemeClr val="tx2"/>
        </a:buClr>
        <a:buFont typeface="Arial" pitchFamily="34" charset="0"/>
        <a:buChar char="•"/>
        <a:defRPr sz="15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36945" indent="-267878" algn="l" defTabSz="685766" rtl="0" eaLnBrk="1" latinLnBrk="0" hangingPunct="1">
        <a:spcBef>
          <a:spcPts val="450"/>
        </a:spcBef>
        <a:spcAft>
          <a:spcPts val="450"/>
        </a:spcAft>
        <a:buClr>
          <a:schemeClr val="tx2"/>
        </a:buClr>
        <a:buFont typeface="Arial" pitchFamily="34" charset="0"/>
        <a:buChar char="•"/>
        <a:tabLst/>
        <a:defRPr sz="15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06015" indent="-269068" algn="l" defTabSz="685766" rtl="0" eaLnBrk="1" latinLnBrk="0" hangingPunct="1">
        <a:spcBef>
          <a:spcPts val="450"/>
        </a:spcBef>
        <a:spcAft>
          <a:spcPts val="450"/>
        </a:spcAft>
        <a:buClr>
          <a:schemeClr val="tx2"/>
        </a:buClr>
        <a:buFont typeface="Arial" pitchFamily="34" charset="0"/>
        <a:buChar char="•"/>
        <a:defRPr sz="15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73891" indent="-267878" algn="l" defTabSz="685766" rtl="0" eaLnBrk="1" latinLnBrk="0" hangingPunct="1">
        <a:spcBef>
          <a:spcPts val="450"/>
        </a:spcBef>
        <a:spcAft>
          <a:spcPts val="450"/>
        </a:spcAft>
        <a:buClr>
          <a:schemeClr val="tx2"/>
        </a:buClr>
        <a:buFont typeface="Arial" pitchFamily="34" charset="0"/>
        <a:buChar char="•"/>
        <a:defRPr sz="15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277036" indent="-197090" algn="l" defTabSz="685766" rtl="0" eaLnBrk="1" latinLnBrk="0" hangingPunct="1">
        <a:spcBef>
          <a:spcPts val="0"/>
        </a:spcBef>
        <a:spcAft>
          <a:spcPts val="900"/>
        </a:spcAft>
        <a:buClr>
          <a:schemeClr val="bg2"/>
        </a:buClr>
        <a:buFont typeface="Georgia" pitchFamily="18" charset="0"/>
        <a:buChar char="-"/>
        <a:defRPr sz="900" kern="1200">
          <a:solidFill>
            <a:schemeClr val="tx1"/>
          </a:solidFill>
          <a:latin typeface="+mn-lt"/>
          <a:ea typeface="+mn-ea"/>
          <a:cs typeface="+mn-cs"/>
        </a:defRPr>
      </a:lvl6pPr>
      <a:lvl7pPr marL="1474127" indent="-197090" algn="l" defTabSz="685766" rtl="0" eaLnBrk="1" latinLnBrk="0" hangingPunct="1">
        <a:spcBef>
          <a:spcPts val="0"/>
        </a:spcBef>
        <a:spcAft>
          <a:spcPts val="900"/>
        </a:spcAft>
        <a:buClr>
          <a:schemeClr val="bg2"/>
        </a:buClr>
        <a:buFont typeface="Georgia" pitchFamily="18" charset="0"/>
        <a:buChar char="-"/>
        <a:defRPr sz="900" kern="1200">
          <a:solidFill>
            <a:schemeClr val="tx1"/>
          </a:solidFill>
          <a:latin typeface="+mn-lt"/>
          <a:ea typeface="+mn-ea"/>
          <a:cs typeface="+mn-cs"/>
        </a:defRPr>
      </a:lvl7pPr>
      <a:lvl8pPr marL="1671216" indent="-197090" algn="l" defTabSz="685766" rtl="0" eaLnBrk="1" latinLnBrk="0" hangingPunct="1">
        <a:spcBef>
          <a:spcPts val="0"/>
        </a:spcBef>
        <a:spcAft>
          <a:spcPts val="900"/>
        </a:spcAft>
        <a:buClr>
          <a:schemeClr val="bg2"/>
        </a:buClr>
        <a:buFont typeface="Georgia" pitchFamily="18" charset="0"/>
        <a:buChar char="-"/>
        <a:defRPr sz="900" kern="1200">
          <a:solidFill>
            <a:schemeClr val="tx1"/>
          </a:solidFill>
          <a:latin typeface="+mn-lt"/>
          <a:ea typeface="+mn-ea"/>
          <a:cs typeface="+mn-cs"/>
        </a:defRPr>
      </a:lvl8pPr>
      <a:lvl9pPr marL="1868307" indent="-197090" algn="l" defTabSz="685766" rtl="0" eaLnBrk="1" latinLnBrk="0" hangingPunct="1">
        <a:spcBef>
          <a:spcPts val="0"/>
        </a:spcBef>
        <a:spcAft>
          <a:spcPts val="900"/>
        </a:spcAft>
        <a:buClr>
          <a:schemeClr val="bg2"/>
        </a:buClr>
        <a:buFont typeface="Georgia" pitchFamily="18" charset="0"/>
        <a:buChar char="-"/>
        <a:defRPr sz="90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5"/>
            </p:custDataLst>
            <p:extLst>
              <p:ext uri="{D42A27DB-BD31-4B8C-83A1-F6EECF244321}">
                <p14:modId xmlns:p14="http://schemas.microsoft.com/office/powerpoint/2010/main" val="1980828176"/>
              </p:ext>
            </p:extLst>
          </p:nvPr>
        </p:nvGraphicFramePr>
        <p:xfrm>
          <a:off x="1192" y="2120"/>
          <a:ext cx="1191" cy="211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5" name="Object 4" hidden="1"/>
                      <p:cNvPicPr/>
                      <p:nvPr/>
                    </p:nvPicPr>
                    <p:blipFill>
                      <a:blip r:embed="rId27"/>
                      <a:stretch>
                        <a:fillRect/>
                      </a:stretch>
                    </p:blipFill>
                    <p:spPr>
                      <a:xfrm>
                        <a:off x="1192" y="2120"/>
                        <a:ext cx="1191" cy="2117"/>
                      </a:xfrm>
                      <a:prstGeom prst="rect">
                        <a:avLst/>
                      </a:prstGeom>
                    </p:spPr>
                  </p:pic>
                </p:oleObj>
              </mc:Fallback>
            </mc:AlternateContent>
          </a:graphicData>
        </a:graphic>
      </p:graphicFrame>
      <p:sp>
        <p:nvSpPr>
          <p:cNvPr id="2" name="Title Placeholder 1"/>
          <p:cNvSpPr>
            <a:spLocks noGrp="1"/>
          </p:cNvSpPr>
          <p:nvPr>
            <p:ph type="title"/>
          </p:nvPr>
        </p:nvSpPr>
        <p:spPr>
          <a:xfrm>
            <a:off x="591258" y="69128"/>
            <a:ext cx="6102678" cy="1067821"/>
          </a:xfrm>
          <a:prstGeom prst="rect">
            <a:avLst/>
          </a:prstGeom>
        </p:spPr>
        <p:txBody>
          <a:bodyPr vert="horz" lIns="0" tIns="0" rIns="0" bIns="0" rtlCol="0" anchor="b" anchorCtr="0">
            <a:normAutofit/>
          </a:bodyPr>
          <a:lstStyle/>
          <a:p>
            <a:r>
              <a:rPr lang="en-US" dirty="0"/>
              <a:t>Click to edit Master title style</a:t>
            </a:r>
            <a:endParaRPr lang="en-AU" dirty="0"/>
          </a:p>
        </p:txBody>
      </p:sp>
      <p:sp>
        <p:nvSpPr>
          <p:cNvPr id="11" name="Text Placeholder 10"/>
          <p:cNvSpPr>
            <a:spLocks noGrp="1"/>
          </p:cNvSpPr>
          <p:nvPr>
            <p:ph type="body" idx="1"/>
          </p:nvPr>
        </p:nvSpPr>
        <p:spPr>
          <a:xfrm>
            <a:off x="592935" y="1785528"/>
            <a:ext cx="6022423" cy="657254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 name="Slide Number Placeholder 3"/>
          <p:cNvSpPr>
            <a:spLocks noGrp="1"/>
          </p:cNvSpPr>
          <p:nvPr>
            <p:ph type="sldNum" sz="quarter" idx="4"/>
          </p:nvPr>
        </p:nvSpPr>
        <p:spPr>
          <a:xfrm>
            <a:off x="5481228" y="8700464"/>
            <a:ext cx="1134126" cy="261509"/>
          </a:xfrm>
          <a:prstGeom prst="rect">
            <a:avLst/>
          </a:prstGeom>
        </p:spPr>
        <p:txBody>
          <a:bodyPr/>
          <a:lstStyle>
            <a:lvl1pPr algn="r" rtl="0">
              <a:defRPr sz="417" b="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7" name="Freeform 6"/>
          <p:cNvSpPr/>
          <p:nvPr/>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2038310697"/>
      </p:ext>
    </p:extLst>
  </p:cSld>
  <p:clrMap bg1="lt1" tx1="dk1" bg2="lt2" tx2="dk2" accent1="accent1" accent2="accent2" accent3="accent3" accent4="accent4" accent5="accent5" accent6="accent6" hlink="hlink" folHlink="folHlink"/>
  <p:sldLayoutIdLst>
    <p:sldLayoutId id="2147485301" r:id="rId1"/>
    <p:sldLayoutId id="2147485302" r:id="rId2"/>
    <p:sldLayoutId id="2147485303" r:id="rId3"/>
    <p:sldLayoutId id="2147485304" r:id="rId4"/>
    <p:sldLayoutId id="2147485305" r:id="rId5"/>
    <p:sldLayoutId id="2147485306" r:id="rId6"/>
    <p:sldLayoutId id="2147485307" r:id="rId7"/>
    <p:sldLayoutId id="2147485308" r:id="rId8"/>
    <p:sldLayoutId id="2147485309" r:id="rId9"/>
    <p:sldLayoutId id="2147485310" r:id="rId10"/>
    <p:sldLayoutId id="2147485311" r:id="rId11"/>
    <p:sldLayoutId id="2147485312" r:id="rId12"/>
    <p:sldLayoutId id="2147485313" r:id="rId13"/>
    <p:sldLayoutId id="2147485314" r:id="rId14"/>
    <p:sldLayoutId id="2147485315" r:id="rId15"/>
    <p:sldLayoutId id="2147485316" r:id="rId16"/>
    <p:sldLayoutId id="2147485317" r:id="rId17"/>
    <p:sldLayoutId id="2147485318" r:id="rId18"/>
    <p:sldLayoutId id="2147485319" r:id="rId19"/>
    <p:sldLayoutId id="2147485320" r:id="rId20"/>
    <p:sldLayoutId id="2147485321" r:id="rId21"/>
    <p:sldLayoutId id="2147485322" r:id="rId22"/>
    <p:sldLayoutId id="214748532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476189" rtl="0" eaLnBrk="1" latinLnBrk="0" hangingPunct="1">
        <a:lnSpc>
          <a:spcPts val="1667"/>
        </a:lnSpc>
        <a:spcBef>
          <a:spcPct val="0"/>
        </a:spcBef>
        <a:buNone/>
        <a:defRPr sz="1500" b="0" kern="1200">
          <a:solidFill>
            <a:srgbClr val="162934"/>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0" indent="0" algn="l" defTabSz="476189" rtl="0" eaLnBrk="1" latinLnBrk="0" hangingPunct="1">
        <a:spcBef>
          <a:spcPts val="313"/>
        </a:spcBef>
        <a:spcAft>
          <a:spcPts val="313"/>
        </a:spcAft>
        <a:buClr>
          <a:schemeClr val="accent6"/>
        </a:buClr>
        <a:buFont typeface="Wingdings" pitchFamily="2" charset="2"/>
        <a:buNone/>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6838" indent="-186838" algn="l" defTabSz="476189" rtl="0" eaLnBrk="1" latinLnBrk="0" hangingPunct="1">
        <a:spcBef>
          <a:spcPts val="313"/>
        </a:spcBef>
        <a:spcAft>
          <a:spcPts val="313"/>
        </a:spcAft>
        <a:buClr>
          <a:schemeClr val="tx2"/>
        </a:buClr>
        <a:buFont typeface="Arial" pitchFamily="34" charset="0"/>
        <a:buChar char="•"/>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72849" indent="-186012" algn="l" defTabSz="476189" rtl="0" eaLnBrk="1" latinLnBrk="0" hangingPunct="1">
        <a:spcBef>
          <a:spcPts val="313"/>
        </a:spcBef>
        <a:spcAft>
          <a:spcPts val="313"/>
        </a:spcAft>
        <a:buClr>
          <a:schemeClr val="tx2"/>
        </a:buClr>
        <a:buFont typeface="Arial" pitchFamily="34" charset="0"/>
        <a:buChar char="•"/>
        <a:tabLst/>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559687" indent="-186838" algn="l" defTabSz="476189" rtl="0" eaLnBrk="1" latinLnBrk="0" hangingPunct="1">
        <a:spcBef>
          <a:spcPts val="313"/>
        </a:spcBef>
        <a:spcAft>
          <a:spcPts val="313"/>
        </a:spcAft>
        <a:buClr>
          <a:schemeClr val="tx2"/>
        </a:buClr>
        <a:buFont typeface="Arial" pitchFamily="34" charset="0"/>
        <a:buChar char="•"/>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745697" indent="-186012" algn="l" defTabSz="476189" rtl="0" eaLnBrk="1" latinLnBrk="0" hangingPunct="1">
        <a:spcBef>
          <a:spcPts val="313"/>
        </a:spcBef>
        <a:spcAft>
          <a:spcPts val="313"/>
        </a:spcAft>
        <a:buClr>
          <a:schemeClr val="tx2"/>
        </a:buClr>
        <a:buFont typeface="Arial" pitchFamily="34" charset="0"/>
        <a:buChar char="•"/>
        <a:defRPr sz="1042"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886760"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6pPr>
      <a:lvl7pPr marL="1023617"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7pPr>
      <a:lvl8pPr marL="1160474"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8pPr>
      <a:lvl9pPr marL="1297332"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9pPr>
    </p:bodyStyle>
    <p:otherStyle>
      <a:defPPr>
        <a:defRPr lang="en-US"/>
      </a:defPPr>
      <a:lvl1pPr marL="0" algn="l" defTabSz="476189" rtl="0" eaLnBrk="1" latinLnBrk="0" hangingPunct="1">
        <a:defRPr sz="938" kern="1200">
          <a:solidFill>
            <a:schemeClr val="tx1"/>
          </a:solidFill>
          <a:latin typeface="+mn-lt"/>
          <a:ea typeface="+mn-ea"/>
          <a:cs typeface="+mn-cs"/>
        </a:defRPr>
      </a:lvl1pPr>
      <a:lvl2pPr marL="238094" algn="l" defTabSz="476189" rtl="0" eaLnBrk="1" latinLnBrk="0" hangingPunct="1">
        <a:defRPr sz="938" kern="1200">
          <a:solidFill>
            <a:schemeClr val="tx1"/>
          </a:solidFill>
          <a:latin typeface="+mn-lt"/>
          <a:ea typeface="+mn-ea"/>
          <a:cs typeface="+mn-cs"/>
        </a:defRPr>
      </a:lvl2pPr>
      <a:lvl3pPr marL="476189" algn="l" defTabSz="476189" rtl="0" eaLnBrk="1" latinLnBrk="0" hangingPunct="1">
        <a:defRPr sz="938" kern="1200">
          <a:solidFill>
            <a:schemeClr val="tx1"/>
          </a:solidFill>
          <a:latin typeface="+mn-lt"/>
          <a:ea typeface="+mn-ea"/>
          <a:cs typeface="+mn-cs"/>
        </a:defRPr>
      </a:lvl3pPr>
      <a:lvl4pPr marL="714282" algn="l" defTabSz="476189" rtl="0" eaLnBrk="1" latinLnBrk="0" hangingPunct="1">
        <a:defRPr sz="938" kern="1200">
          <a:solidFill>
            <a:schemeClr val="tx1"/>
          </a:solidFill>
          <a:latin typeface="+mn-lt"/>
          <a:ea typeface="+mn-ea"/>
          <a:cs typeface="+mn-cs"/>
        </a:defRPr>
      </a:lvl4pPr>
      <a:lvl5pPr marL="952377" algn="l" defTabSz="476189" rtl="0" eaLnBrk="1" latinLnBrk="0" hangingPunct="1">
        <a:defRPr sz="938" kern="1200">
          <a:solidFill>
            <a:schemeClr val="tx1"/>
          </a:solidFill>
          <a:latin typeface="+mn-lt"/>
          <a:ea typeface="+mn-ea"/>
          <a:cs typeface="+mn-cs"/>
        </a:defRPr>
      </a:lvl5pPr>
      <a:lvl6pPr marL="1190471" algn="l" defTabSz="476189" rtl="0" eaLnBrk="1" latinLnBrk="0" hangingPunct="1">
        <a:defRPr sz="938" kern="1200">
          <a:solidFill>
            <a:schemeClr val="tx1"/>
          </a:solidFill>
          <a:latin typeface="+mn-lt"/>
          <a:ea typeface="+mn-ea"/>
          <a:cs typeface="+mn-cs"/>
        </a:defRPr>
      </a:lvl6pPr>
      <a:lvl7pPr marL="1428565" algn="l" defTabSz="476189" rtl="0" eaLnBrk="1" latinLnBrk="0" hangingPunct="1">
        <a:defRPr sz="938" kern="1200">
          <a:solidFill>
            <a:schemeClr val="tx1"/>
          </a:solidFill>
          <a:latin typeface="+mn-lt"/>
          <a:ea typeface="+mn-ea"/>
          <a:cs typeface="+mn-cs"/>
        </a:defRPr>
      </a:lvl7pPr>
      <a:lvl8pPr marL="1666659" algn="l" defTabSz="476189" rtl="0" eaLnBrk="1" latinLnBrk="0" hangingPunct="1">
        <a:defRPr sz="938" kern="1200">
          <a:solidFill>
            <a:schemeClr val="tx1"/>
          </a:solidFill>
          <a:latin typeface="+mn-lt"/>
          <a:ea typeface="+mn-ea"/>
          <a:cs typeface="+mn-cs"/>
        </a:defRPr>
      </a:lvl8pPr>
      <a:lvl9pPr marL="1904753" algn="l" defTabSz="476189" rtl="0" eaLnBrk="1" latinLnBrk="0" hangingPunct="1">
        <a:defRPr sz="93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6"/>
            </p:custDataLst>
            <p:extLst>
              <p:ext uri="{D42A27DB-BD31-4B8C-83A1-F6EECF244321}">
                <p14:modId xmlns:p14="http://schemas.microsoft.com/office/powerpoint/2010/main" val="4123680594"/>
              </p:ext>
            </p:extLst>
          </p:nvPr>
        </p:nvGraphicFramePr>
        <p:xfrm>
          <a:off x="1192" y="2120"/>
          <a:ext cx="1191" cy="211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5" name="Object 4" hidden="1"/>
                      <p:cNvPicPr/>
                      <p:nvPr/>
                    </p:nvPicPr>
                    <p:blipFill>
                      <a:blip r:embed="rId28"/>
                      <a:stretch>
                        <a:fillRect/>
                      </a:stretch>
                    </p:blipFill>
                    <p:spPr>
                      <a:xfrm>
                        <a:off x="1192" y="2120"/>
                        <a:ext cx="1191" cy="2117"/>
                      </a:xfrm>
                      <a:prstGeom prst="rect">
                        <a:avLst/>
                      </a:prstGeom>
                    </p:spPr>
                  </p:pic>
                </p:oleObj>
              </mc:Fallback>
            </mc:AlternateContent>
          </a:graphicData>
        </a:graphic>
      </p:graphicFrame>
      <p:sp>
        <p:nvSpPr>
          <p:cNvPr id="2" name="Title Placeholder 1"/>
          <p:cNvSpPr>
            <a:spLocks noGrp="1"/>
          </p:cNvSpPr>
          <p:nvPr>
            <p:ph type="title"/>
          </p:nvPr>
        </p:nvSpPr>
        <p:spPr>
          <a:xfrm>
            <a:off x="591258" y="69128"/>
            <a:ext cx="6102678" cy="1067821"/>
          </a:xfrm>
          <a:prstGeom prst="rect">
            <a:avLst/>
          </a:prstGeom>
        </p:spPr>
        <p:txBody>
          <a:bodyPr vert="horz" lIns="0" tIns="0" rIns="0" bIns="0" rtlCol="0" anchor="b" anchorCtr="0">
            <a:normAutofit/>
          </a:bodyPr>
          <a:lstStyle/>
          <a:p>
            <a:r>
              <a:rPr lang="en-US" dirty="0"/>
              <a:t>Click to edit Master title style</a:t>
            </a:r>
            <a:endParaRPr lang="en-AU" dirty="0"/>
          </a:p>
        </p:txBody>
      </p:sp>
      <p:sp>
        <p:nvSpPr>
          <p:cNvPr id="11" name="Text Placeholder 10"/>
          <p:cNvSpPr>
            <a:spLocks noGrp="1"/>
          </p:cNvSpPr>
          <p:nvPr>
            <p:ph type="body" idx="1"/>
          </p:nvPr>
        </p:nvSpPr>
        <p:spPr>
          <a:xfrm>
            <a:off x="592935" y="1785528"/>
            <a:ext cx="6022423" cy="657254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 name="Slide Number Placeholder 3"/>
          <p:cNvSpPr>
            <a:spLocks noGrp="1"/>
          </p:cNvSpPr>
          <p:nvPr>
            <p:ph type="sldNum" sz="quarter" idx="4"/>
          </p:nvPr>
        </p:nvSpPr>
        <p:spPr>
          <a:xfrm>
            <a:off x="5481228" y="8700464"/>
            <a:ext cx="1134126" cy="261509"/>
          </a:xfrm>
          <a:prstGeom prst="rect">
            <a:avLst/>
          </a:prstGeom>
        </p:spPr>
        <p:txBody>
          <a:bodyPr/>
          <a:lstStyle>
            <a:lvl1pPr algn="r" rtl="0">
              <a:defRPr sz="417" b="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7" name="Freeform 6"/>
          <p:cNvSpPr/>
          <p:nvPr/>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2989724441"/>
      </p:ext>
    </p:extLst>
  </p:cSld>
  <p:clrMap bg1="lt1" tx1="dk1" bg2="lt2" tx2="dk2" accent1="accent1" accent2="accent2" accent3="accent3" accent4="accent4" accent5="accent5" accent6="accent6" hlink="hlink" folHlink="folHlink"/>
  <p:sldLayoutIdLst>
    <p:sldLayoutId id="2147485402" r:id="rId1"/>
    <p:sldLayoutId id="2147485403" r:id="rId2"/>
    <p:sldLayoutId id="2147485404" r:id="rId3"/>
    <p:sldLayoutId id="2147485405" r:id="rId4"/>
    <p:sldLayoutId id="2147485406" r:id="rId5"/>
    <p:sldLayoutId id="2147485407" r:id="rId6"/>
    <p:sldLayoutId id="2147485408" r:id="rId7"/>
    <p:sldLayoutId id="2147485409" r:id="rId8"/>
    <p:sldLayoutId id="2147485410" r:id="rId9"/>
    <p:sldLayoutId id="2147485411" r:id="rId10"/>
    <p:sldLayoutId id="2147485412" r:id="rId11"/>
    <p:sldLayoutId id="2147485413" r:id="rId12"/>
    <p:sldLayoutId id="2147485414" r:id="rId13"/>
    <p:sldLayoutId id="2147485415" r:id="rId14"/>
    <p:sldLayoutId id="2147485416" r:id="rId15"/>
    <p:sldLayoutId id="2147485417" r:id="rId16"/>
    <p:sldLayoutId id="2147485418" r:id="rId17"/>
    <p:sldLayoutId id="2147485419" r:id="rId18"/>
    <p:sldLayoutId id="2147485420" r:id="rId19"/>
    <p:sldLayoutId id="2147485421" r:id="rId20"/>
    <p:sldLayoutId id="2147485422" r:id="rId21"/>
    <p:sldLayoutId id="2147485423" r:id="rId22"/>
    <p:sldLayoutId id="2147485424" r:id="rId23"/>
    <p:sldLayoutId id="2147485425"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476189" rtl="0" eaLnBrk="1" latinLnBrk="0" hangingPunct="1">
        <a:lnSpc>
          <a:spcPts val="1667"/>
        </a:lnSpc>
        <a:spcBef>
          <a:spcPct val="0"/>
        </a:spcBef>
        <a:buNone/>
        <a:defRPr sz="1500" b="0" kern="1200">
          <a:solidFill>
            <a:srgbClr val="162934"/>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0" indent="0" algn="l" defTabSz="476189" rtl="0" eaLnBrk="1" latinLnBrk="0" hangingPunct="1">
        <a:spcBef>
          <a:spcPts val="313"/>
        </a:spcBef>
        <a:spcAft>
          <a:spcPts val="313"/>
        </a:spcAft>
        <a:buClr>
          <a:schemeClr val="accent6"/>
        </a:buClr>
        <a:buFont typeface="Wingdings" pitchFamily="2" charset="2"/>
        <a:buNone/>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6838" indent="-186838" algn="l" defTabSz="476189" rtl="0" eaLnBrk="1" latinLnBrk="0" hangingPunct="1">
        <a:spcBef>
          <a:spcPts val="313"/>
        </a:spcBef>
        <a:spcAft>
          <a:spcPts val="313"/>
        </a:spcAft>
        <a:buClr>
          <a:schemeClr val="tx2"/>
        </a:buClr>
        <a:buFont typeface="Arial" pitchFamily="34" charset="0"/>
        <a:buChar char="•"/>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72849" indent="-186012" algn="l" defTabSz="476189" rtl="0" eaLnBrk="1" latinLnBrk="0" hangingPunct="1">
        <a:spcBef>
          <a:spcPts val="313"/>
        </a:spcBef>
        <a:spcAft>
          <a:spcPts val="313"/>
        </a:spcAft>
        <a:buClr>
          <a:schemeClr val="tx2"/>
        </a:buClr>
        <a:buFont typeface="Arial" pitchFamily="34" charset="0"/>
        <a:buChar char="•"/>
        <a:tabLst/>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559687" indent="-186838" algn="l" defTabSz="476189" rtl="0" eaLnBrk="1" latinLnBrk="0" hangingPunct="1">
        <a:spcBef>
          <a:spcPts val="313"/>
        </a:spcBef>
        <a:spcAft>
          <a:spcPts val="313"/>
        </a:spcAft>
        <a:buClr>
          <a:schemeClr val="tx2"/>
        </a:buClr>
        <a:buFont typeface="Arial" pitchFamily="34" charset="0"/>
        <a:buChar char="•"/>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745697" indent="-186012" algn="l" defTabSz="476189" rtl="0" eaLnBrk="1" latinLnBrk="0" hangingPunct="1">
        <a:spcBef>
          <a:spcPts val="313"/>
        </a:spcBef>
        <a:spcAft>
          <a:spcPts val="313"/>
        </a:spcAft>
        <a:buClr>
          <a:schemeClr val="tx2"/>
        </a:buClr>
        <a:buFont typeface="Arial" pitchFamily="34" charset="0"/>
        <a:buChar char="•"/>
        <a:defRPr sz="1042"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886760"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6pPr>
      <a:lvl7pPr marL="1023617"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7pPr>
      <a:lvl8pPr marL="1160474"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8pPr>
      <a:lvl9pPr marL="1297332"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9pPr>
    </p:bodyStyle>
    <p:otherStyle>
      <a:defPPr>
        <a:defRPr lang="en-US"/>
      </a:defPPr>
      <a:lvl1pPr marL="0" algn="l" defTabSz="476189" rtl="0" eaLnBrk="1" latinLnBrk="0" hangingPunct="1">
        <a:defRPr sz="938" kern="1200">
          <a:solidFill>
            <a:schemeClr val="tx1"/>
          </a:solidFill>
          <a:latin typeface="+mn-lt"/>
          <a:ea typeface="+mn-ea"/>
          <a:cs typeface="+mn-cs"/>
        </a:defRPr>
      </a:lvl1pPr>
      <a:lvl2pPr marL="238094" algn="l" defTabSz="476189" rtl="0" eaLnBrk="1" latinLnBrk="0" hangingPunct="1">
        <a:defRPr sz="938" kern="1200">
          <a:solidFill>
            <a:schemeClr val="tx1"/>
          </a:solidFill>
          <a:latin typeface="+mn-lt"/>
          <a:ea typeface="+mn-ea"/>
          <a:cs typeface="+mn-cs"/>
        </a:defRPr>
      </a:lvl2pPr>
      <a:lvl3pPr marL="476189" algn="l" defTabSz="476189" rtl="0" eaLnBrk="1" latinLnBrk="0" hangingPunct="1">
        <a:defRPr sz="938" kern="1200">
          <a:solidFill>
            <a:schemeClr val="tx1"/>
          </a:solidFill>
          <a:latin typeface="+mn-lt"/>
          <a:ea typeface="+mn-ea"/>
          <a:cs typeface="+mn-cs"/>
        </a:defRPr>
      </a:lvl3pPr>
      <a:lvl4pPr marL="714282" algn="l" defTabSz="476189" rtl="0" eaLnBrk="1" latinLnBrk="0" hangingPunct="1">
        <a:defRPr sz="938" kern="1200">
          <a:solidFill>
            <a:schemeClr val="tx1"/>
          </a:solidFill>
          <a:latin typeface="+mn-lt"/>
          <a:ea typeface="+mn-ea"/>
          <a:cs typeface="+mn-cs"/>
        </a:defRPr>
      </a:lvl4pPr>
      <a:lvl5pPr marL="952377" algn="l" defTabSz="476189" rtl="0" eaLnBrk="1" latinLnBrk="0" hangingPunct="1">
        <a:defRPr sz="938" kern="1200">
          <a:solidFill>
            <a:schemeClr val="tx1"/>
          </a:solidFill>
          <a:latin typeface="+mn-lt"/>
          <a:ea typeface="+mn-ea"/>
          <a:cs typeface="+mn-cs"/>
        </a:defRPr>
      </a:lvl5pPr>
      <a:lvl6pPr marL="1190471" algn="l" defTabSz="476189" rtl="0" eaLnBrk="1" latinLnBrk="0" hangingPunct="1">
        <a:defRPr sz="938" kern="1200">
          <a:solidFill>
            <a:schemeClr val="tx1"/>
          </a:solidFill>
          <a:latin typeface="+mn-lt"/>
          <a:ea typeface="+mn-ea"/>
          <a:cs typeface="+mn-cs"/>
        </a:defRPr>
      </a:lvl6pPr>
      <a:lvl7pPr marL="1428565" algn="l" defTabSz="476189" rtl="0" eaLnBrk="1" latinLnBrk="0" hangingPunct="1">
        <a:defRPr sz="938" kern="1200">
          <a:solidFill>
            <a:schemeClr val="tx1"/>
          </a:solidFill>
          <a:latin typeface="+mn-lt"/>
          <a:ea typeface="+mn-ea"/>
          <a:cs typeface="+mn-cs"/>
        </a:defRPr>
      </a:lvl7pPr>
      <a:lvl8pPr marL="1666659" algn="l" defTabSz="476189" rtl="0" eaLnBrk="1" latinLnBrk="0" hangingPunct="1">
        <a:defRPr sz="938" kern="1200">
          <a:solidFill>
            <a:schemeClr val="tx1"/>
          </a:solidFill>
          <a:latin typeface="+mn-lt"/>
          <a:ea typeface="+mn-ea"/>
          <a:cs typeface="+mn-cs"/>
        </a:defRPr>
      </a:lvl8pPr>
      <a:lvl9pPr marL="1904753" algn="l" defTabSz="476189" rtl="0" eaLnBrk="1" latinLnBrk="0" hangingPunct="1">
        <a:defRPr sz="93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4"/>
            </p:custDataLst>
            <p:extLst>
              <p:ext uri="{D42A27DB-BD31-4B8C-83A1-F6EECF244321}">
                <p14:modId xmlns:p14="http://schemas.microsoft.com/office/powerpoint/2010/main" val="3989473917"/>
              </p:ext>
            </p:extLst>
          </p:nvPr>
        </p:nvGraphicFramePr>
        <p:xfrm>
          <a:off x="1192" y="2120"/>
          <a:ext cx="1191" cy="211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5" name="Object 4" hidden="1"/>
                      <p:cNvPicPr/>
                      <p:nvPr/>
                    </p:nvPicPr>
                    <p:blipFill>
                      <a:blip r:embed="rId26"/>
                      <a:stretch>
                        <a:fillRect/>
                      </a:stretch>
                    </p:blipFill>
                    <p:spPr>
                      <a:xfrm>
                        <a:off x="1192" y="2120"/>
                        <a:ext cx="1191" cy="2117"/>
                      </a:xfrm>
                      <a:prstGeom prst="rect">
                        <a:avLst/>
                      </a:prstGeom>
                    </p:spPr>
                  </p:pic>
                </p:oleObj>
              </mc:Fallback>
            </mc:AlternateContent>
          </a:graphicData>
        </a:graphic>
      </p:graphicFrame>
      <p:sp>
        <p:nvSpPr>
          <p:cNvPr id="2" name="Title Placeholder 1"/>
          <p:cNvSpPr>
            <a:spLocks noGrp="1"/>
          </p:cNvSpPr>
          <p:nvPr>
            <p:ph type="title"/>
          </p:nvPr>
        </p:nvSpPr>
        <p:spPr>
          <a:xfrm>
            <a:off x="591258" y="69128"/>
            <a:ext cx="6102678" cy="1067821"/>
          </a:xfrm>
          <a:prstGeom prst="rect">
            <a:avLst/>
          </a:prstGeom>
        </p:spPr>
        <p:txBody>
          <a:bodyPr vert="horz" lIns="0" tIns="0" rIns="0" bIns="0" rtlCol="0" anchor="b" anchorCtr="0">
            <a:normAutofit/>
          </a:bodyPr>
          <a:lstStyle/>
          <a:p>
            <a:r>
              <a:rPr lang="en-US" dirty="0"/>
              <a:t>Click to edit Master title style</a:t>
            </a:r>
            <a:endParaRPr lang="en-AU" dirty="0"/>
          </a:p>
        </p:txBody>
      </p:sp>
      <p:sp>
        <p:nvSpPr>
          <p:cNvPr id="11" name="Text Placeholder 10"/>
          <p:cNvSpPr>
            <a:spLocks noGrp="1"/>
          </p:cNvSpPr>
          <p:nvPr>
            <p:ph type="body" idx="1"/>
          </p:nvPr>
        </p:nvSpPr>
        <p:spPr>
          <a:xfrm>
            <a:off x="592935" y="1785528"/>
            <a:ext cx="6022423" cy="657254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 name="Slide Number Placeholder 3"/>
          <p:cNvSpPr>
            <a:spLocks noGrp="1"/>
          </p:cNvSpPr>
          <p:nvPr>
            <p:ph type="sldNum" sz="quarter" idx="4"/>
          </p:nvPr>
        </p:nvSpPr>
        <p:spPr>
          <a:xfrm>
            <a:off x="5481228" y="8700464"/>
            <a:ext cx="1134126" cy="261509"/>
          </a:xfrm>
          <a:prstGeom prst="rect">
            <a:avLst/>
          </a:prstGeom>
        </p:spPr>
        <p:txBody>
          <a:bodyPr/>
          <a:lstStyle>
            <a:lvl1pPr algn="r" rtl="0">
              <a:defRPr sz="417" b="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7" name="Freeform 6"/>
          <p:cNvSpPr/>
          <p:nvPr/>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1637277304"/>
      </p:ext>
    </p:extLst>
  </p:cSld>
  <p:clrMap bg1="lt1" tx1="dk1" bg2="lt2" tx2="dk2" accent1="accent1" accent2="accent2" accent3="accent3" accent4="accent4" accent5="accent5" accent6="accent6" hlink="hlink" folHlink="folHlink"/>
  <p:sldLayoutIdLst>
    <p:sldLayoutId id="2147485427" r:id="rId1"/>
    <p:sldLayoutId id="2147485428" r:id="rId2"/>
    <p:sldLayoutId id="2147485429" r:id="rId3"/>
    <p:sldLayoutId id="2147485430" r:id="rId4"/>
    <p:sldLayoutId id="2147485431" r:id="rId5"/>
    <p:sldLayoutId id="2147485432" r:id="rId6"/>
    <p:sldLayoutId id="2147485433" r:id="rId7"/>
    <p:sldLayoutId id="2147485434" r:id="rId8"/>
    <p:sldLayoutId id="2147485435" r:id="rId9"/>
    <p:sldLayoutId id="2147485436" r:id="rId10"/>
    <p:sldLayoutId id="2147485437" r:id="rId11"/>
    <p:sldLayoutId id="2147485438" r:id="rId12"/>
    <p:sldLayoutId id="2147485439" r:id="rId13"/>
    <p:sldLayoutId id="2147485440" r:id="rId14"/>
    <p:sldLayoutId id="2147485441" r:id="rId15"/>
    <p:sldLayoutId id="2147485442" r:id="rId16"/>
    <p:sldLayoutId id="2147485443" r:id="rId17"/>
    <p:sldLayoutId id="2147485444" r:id="rId18"/>
    <p:sldLayoutId id="2147485445" r:id="rId19"/>
    <p:sldLayoutId id="2147485446" r:id="rId20"/>
    <p:sldLayoutId id="2147485447" r:id="rId21"/>
    <p:sldLayoutId id="214748544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476189" rtl="0" eaLnBrk="1" latinLnBrk="0" hangingPunct="1">
        <a:lnSpc>
          <a:spcPts val="1667"/>
        </a:lnSpc>
        <a:spcBef>
          <a:spcPct val="0"/>
        </a:spcBef>
        <a:buNone/>
        <a:defRPr sz="1500" b="0" kern="1200">
          <a:solidFill>
            <a:srgbClr val="162934"/>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0" indent="0" algn="l" defTabSz="476189" rtl="0" eaLnBrk="1" latinLnBrk="0" hangingPunct="1">
        <a:spcBef>
          <a:spcPts val="313"/>
        </a:spcBef>
        <a:spcAft>
          <a:spcPts val="313"/>
        </a:spcAft>
        <a:buClr>
          <a:schemeClr val="accent6"/>
        </a:buClr>
        <a:buFont typeface="Wingdings" pitchFamily="2" charset="2"/>
        <a:buNone/>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6838" indent="-186838" algn="l" defTabSz="476189" rtl="0" eaLnBrk="1" latinLnBrk="0" hangingPunct="1">
        <a:spcBef>
          <a:spcPts val="313"/>
        </a:spcBef>
        <a:spcAft>
          <a:spcPts val="313"/>
        </a:spcAft>
        <a:buClr>
          <a:schemeClr val="tx2"/>
        </a:buClr>
        <a:buFont typeface="Arial" pitchFamily="34" charset="0"/>
        <a:buChar char="•"/>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72849" indent="-186012" algn="l" defTabSz="476189" rtl="0" eaLnBrk="1" latinLnBrk="0" hangingPunct="1">
        <a:spcBef>
          <a:spcPts val="313"/>
        </a:spcBef>
        <a:spcAft>
          <a:spcPts val="313"/>
        </a:spcAft>
        <a:buClr>
          <a:schemeClr val="tx2"/>
        </a:buClr>
        <a:buFont typeface="Arial" pitchFamily="34" charset="0"/>
        <a:buChar char="•"/>
        <a:tabLst/>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559687" indent="-186838" algn="l" defTabSz="476189" rtl="0" eaLnBrk="1" latinLnBrk="0" hangingPunct="1">
        <a:spcBef>
          <a:spcPts val="313"/>
        </a:spcBef>
        <a:spcAft>
          <a:spcPts val="313"/>
        </a:spcAft>
        <a:buClr>
          <a:schemeClr val="tx2"/>
        </a:buClr>
        <a:buFont typeface="Arial" pitchFamily="34" charset="0"/>
        <a:buChar char="•"/>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745697" indent="-186012" algn="l" defTabSz="476189" rtl="0" eaLnBrk="1" latinLnBrk="0" hangingPunct="1">
        <a:spcBef>
          <a:spcPts val="313"/>
        </a:spcBef>
        <a:spcAft>
          <a:spcPts val="313"/>
        </a:spcAft>
        <a:buClr>
          <a:schemeClr val="tx2"/>
        </a:buClr>
        <a:buFont typeface="Arial" pitchFamily="34" charset="0"/>
        <a:buChar char="•"/>
        <a:defRPr sz="1042"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886760"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6pPr>
      <a:lvl7pPr marL="1023617"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7pPr>
      <a:lvl8pPr marL="1160474"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8pPr>
      <a:lvl9pPr marL="1297332"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9pPr>
    </p:bodyStyle>
    <p:otherStyle>
      <a:defPPr>
        <a:defRPr lang="en-US"/>
      </a:defPPr>
      <a:lvl1pPr marL="0" algn="l" defTabSz="476189" rtl="0" eaLnBrk="1" latinLnBrk="0" hangingPunct="1">
        <a:defRPr sz="938" kern="1200">
          <a:solidFill>
            <a:schemeClr val="tx1"/>
          </a:solidFill>
          <a:latin typeface="+mn-lt"/>
          <a:ea typeface="+mn-ea"/>
          <a:cs typeface="+mn-cs"/>
        </a:defRPr>
      </a:lvl1pPr>
      <a:lvl2pPr marL="238094" algn="l" defTabSz="476189" rtl="0" eaLnBrk="1" latinLnBrk="0" hangingPunct="1">
        <a:defRPr sz="938" kern="1200">
          <a:solidFill>
            <a:schemeClr val="tx1"/>
          </a:solidFill>
          <a:latin typeface="+mn-lt"/>
          <a:ea typeface="+mn-ea"/>
          <a:cs typeface="+mn-cs"/>
        </a:defRPr>
      </a:lvl2pPr>
      <a:lvl3pPr marL="476189" algn="l" defTabSz="476189" rtl="0" eaLnBrk="1" latinLnBrk="0" hangingPunct="1">
        <a:defRPr sz="938" kern="1200">
          <a:solidFill>
            <a:schemeClr val="tx1"/>
          </a:solidFill>
          <a:latin typeface="+mn-lt"/>
          <a:ea typeface="+mn-ea"/>
          <a:cs typeface="+mn-cs"/>
        </a:defRPr>
      </a:lvl3pPr>
      <a:lvl4pPr marL="714282" algn="l" defTabSz="476189" rtl="0" eaLnBrk="1" latinLnBrk="0" hangingPunct="1">
        <a:defRPr sz="938" kern="1200">
          <a:solidFill>
            <a:schemeClr val="tx1"/>
          </a:solidFill>
          <a:latin typeface="+mn-lt"/>
          <a:ea typeface="+mn-ea"/>
          <a:cs typeface="+mn-cs"/>
        </a:defRPr>
      </a:lvl4pPr>
      <a:lvl5pPr marL="952377" algn="l" defTabSz="476189" rtl="0" eaLnBrk="1" latinLnBrk="0" hangingPunct="1">
        <a:defRPr sz="938" kern="1200">
          <a:solidFill>
            <a:schemeClr val="tx1"/>
          </a:solidFill>
          <a:latin typeface="+mn-lt"/>
          <a:ea typeface="+mn-ea"/>
          <a:cs typeface="+mn-cs"/>
        </a:defRPr>
      </a:lvl5pPr>
      <a:lvl6pPr marL="1190471" algn="l" defTabSz="476189" rtl="0" eaLnBrk="1" latinLnBrk="0" hangingPunct="1">
        <a:defRPr sz="938" kern="1200">
          <a:solidFill>
            <a:schemeClr val="tx1"/>
          </a:solidFill>
          <a:latin typeface="+mn-lt"/>
          <a:ea typeface="+mn-ea"/>
          <a:cs typeface="+mn-cs"/>
        </a:defRPr>
      </a:lvl6pPr>
      <a:lvl7pPr marL="1428565" algn="l" defTabSz="476189" rtl="0" eaLnBrk="1" latinLnBrk="0" hangingPunct="1">
        <a:defRPr sz="938" kern="1200">
          <a:solidFill>
            <a:schemeClr val="tx1"/>
          </a:solidFill>
          <a:latin typeface="+mn-lt"/>
          <a:ea typeface="+mn-ea"/>
          <a:cs typeface="+mn-cs"/>
        </a:defRPr>
      </a:lvl7pPr>
      <a:lvl8pPr marL="1666659" algn="l" defTabSz="476189" rtl="0" eaLnBrk="1" latinLnBrk="0" hangingPunct="1">
        <a:defRPr sz="938" kern="1200">
          <a:solidFill>
            <a:schemeClr val="tx1"/>
          </a:solidFill>
          <a:latin typeface="+mn-lt"/>
          <a:ea typeface="+mn-ea"/>
          <a:cs typeface="+mn-cs"/>
        </a:defRPr>
      </a:lvl8pPr>
      <a:lvl9pPr marL="1904753" algn="l" defTabSz="476189" rtl="0" eaLnBrk="1" latinLnBrk="0" hangingPunct="1">
        <a:defRPr sz="93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5"/>
            </p:custDataLst>
            <p:extLst>
              <p:ext uri="{D42A27DB-BD31-4B8C-83A1-F6EECF244321}">
                <p14:modId xmlns:p14="http://schemas.microsoft.com/office/powerpoint/2010/main" val="1788828086"/>
              </p:ext>
            </p:extLst>
          </p:nvPr>
        </p:nvGraphicFramePr>
        <p:xfrm>
          <a:off x="1192" y="2120"/>
          <a:ext cx="1191" cy="211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5" name="Object 4" hidden="1"/>
                      <p:cNvPicPr/>
                      <p:nvPr/>
                    </p:nvPicPr>
                    <p:blipFill>
                      <a:blip r:embed="rId27"/>
                      <a:stretch>
                        <a:fillRect/>
                      </a:stretch>
                    </p:blipFill>
                    <p:spPr>
                      <a:xfrm>
                        <a:off x="1192" y="2120"/>
                        <a:ext cx="1191" cy="2117"/>
                      </a:xfrm>
                      <a:prstGeom prst="rect">
                        <a:avLst/>
                      </a:prstGeom>
                    </p:spPr>
                  </p:pic>
                </p:oleObj>
              </mc:Fallback>
            </mc:AlternateContent>
          </a:graphicData>
        </a:graphic>
      </p:graphicFrame>
      <p:sp>
        <p:nvSpPr>
          <p:cNvPr id="2" name="Title Placeholder 1"/>
          <p:cNvSpPr>
            <a:spLocks noGrp="1"/>
          </p:cNvSpPr>
          <p:nvPr>
            <p:ph type="title"/>
          </p:nvPr>
        </p:nvSpPr>
        <p:spPr>
          <a:xfrm>
            <a:off x="591258" y="69128"/>
            <a:ext cx="6102678" cy="1067821"/>
          </a:xfrm>
          <a:prstGeom prst="rect">
            <a:avLst/>
          </a:prstGeom>
        </p:spPr>
        <p:txBody>
          <a:bodyPr vert="horz" lIns="0" tIns="0" rIns="0" bIns="0" rtlCol="0" anchor="b" anchorCtr="0">
            <a:normAutofit/>
          </a:bodyPr>
          <a:lstStyle/>
          <a:p>
            <a:r>
              <a:rPr lang="en-US" dirty="0"/>
              <a:t>Click to edit Master title style</a:t>
            </a:r>
            <a:endParaRPr lang="en-AU" dirty="0"/>
          </a:p>
        </p:txBody>
      </p:sp>
      <p:sp>
        <p:nvSpPr>
          <p:cNvPr id="11" name="Text Placeholder 10"/>
          <p:cNvSpPr>
            <a:spLocks noGrp="1"/>
          </p:cNvSpPr>
          <p:nvPr>
            <p:ph type="body" idx="1"/>
          </p:nvPr>
        </p:nvSpPr>
        <p:spPr>
          <a:xfrm>
            <a:off x="592935" y="1785528"/>
            <a:ext cx="6022423" cy="657254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 name="Slide Number Placeholder 3"/>
          <p:cNvSpPr>
            <a:spLocks noGrp="1"/>
          </p:cNvSpPr>
          <p:nvPr>
            <p:ph type="sldNum" sz="quarter" idx="4"/>
          </p:nvPr>
        </p:nvSpPr>
        <p:spPr>
          <a:xfrm>
            <a:off x="5481228" y="8700464"/>
            <a:ext cx="1134126" cy="261509"/>
          </a:xfrm>
          <a:prstGeom prst="rect">
            <a:avLst/>
          </a:prstGeom>
        </p:spPr>
        <p:txBody>
          <a:bodyPr/>
          <a:lstStyle>
            <a:lvl1pPr algn="r" rtl="0">
              <a:defRPr sz="417" b="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dirty="0">
                <a:solidFill>
                  <a:srgbClr val="FFFFFF">
                    <a:lumMod val="50000"/>
                  </a:srgbClr>
                </a:solidFill>
              </a:rPr>
              <a:t> Offshore Mining and Civil  / </a:t>
            </a:r>
            <a:fld id="{CFD780AD-5876-4BCA-80DC-E96648A7269F}" type="slidenum">
              <a:rPr lang="en-AU" smtClean="0">
                <a:solidFill>
                  <a:srgbClr val="FFFFFF">
                    <a:lumMod val="50000"/>
                  </a:srgbClr>
                </a:solidFill>
              </a:rPr>
              <a:pPr/>
              <a:t>‹#›</a:t>
            </a:fld>
            <a:endParaRPr lang="en-AU" dirty="0">
              <a:solidFill>
                <a:srgbClr val="FFFFFF">
                  <a:lumMod val="50000"/>
                </a:srgbClr>
              </a:solidFill>
            </a:endParaRPr>
          </a:p>
        </p:txBody>
      </p:sp>
      <p:sp>
        <p:nvSpPr>
          <p:cNvPr id="7" name="Freeform 6"/>
          <p:cNvSpPr/>
          <p:nvPr/>
        </p:nvSpPr>
        <p:spPr>
          <a:xfrm>
            <a:off x="-7063" y="119499"/>
            <a:ext cx="441127" cy="1171575"/>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
        <p:nvSpPr>
          <p:cNvPr id="8" name="Parallelogram 11"/>
          <p:cNvSpPr/>
          <p:nvPr/>
        </p:nvSpPr>
        <p:spPr>
          <a:xfrm>
            <a:off x="-7065" y="69133"/>
            <a:ext cx="544034" cy="939371"/>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38" dirty="0">
              <a:solidFill>
                <a:srgbClr val="FFFFFF"/>
              </a:solidFill>
            </a:endParaRPr>
          </a:p>
        </p:txBody>
      </p:sp>
    </p:spTree>
    <p:extLst>
      <p:ext uri="{BB962C8B-B14F-4D97-AF65-F5344CB8AC3E}">
        <p14:creationId xmlns:p14="http://schemas.microsoft.com/office/powerpoint/2010/main" val="3449974966"/>
      </p:ext>
    </p:extLst>
  </p:cSld>
  <p:clrMap bg1="lt1" tx1="dk1" bg2="lt2" tx2="dk2" accent1="accent1" accent2="accent2" accent3="accent3" accent4="accent4" accent5="accent5" accent6="accent6" hlink="hlink" folHlink="folHlink"/>
  <p:sldLayoutIdLst>
    <p:sldLayoutId id="2147485575" r:id="rId1"/>
    <p:sldLayoutId id="2147485576" r:id="rId2"/>
    <p:sldLayoutId id="2147485577" r:id="rId3"/>
    <p:sldLayoutId id="2147485578" r:id="rId4"/>
    <p:sldLayoutId id="2147485579" r:id="rId5"/>
    <p:sldLayoutId id="2147485580" r:id="rId6"/>
    <p:sldLayoutId id="2147485581" r:id="rId7"/>
    <p:sldLayoutId id="2147485582" r:id="rId8"/>
    <p:sldLayoutId id="2147485583" r:id="rId9"/>
    <p:sldLayoutId id="2147485584" r:id="rId10"/>
    <p:sldLayoutId id="2147485585" r:id="rId11"/>
    <p:sldLayoutId id="2147485586" r:id="rId12"/>
    <p:sldLayoutId id="2147485587" r:id="rId13"/>
    <p:sldLayoutId id="2147485588" r:id="rId14"/>
    <p:sldLayoutId id="2147485589" r:id="rId15"/>
    <p:sldLayoutId id="2147485590" r:id="rId16"/>
    <p:sldLayoutId id="2147485591" r:id="rId17"/>
    <p:sldLayoutId id="2147485592" r:id="rId18"/>
    <p:sldLayoutId id="2147485593" r:id="rId19"/>
    <p:sldLayoutId id="2147485594" r:id="rId20"/>
    <p:sldLayoutId id="2147485595" r:id="rId21"/>
    <p:sldLayoutId id="2147485596" r:id="rId22"/>
    <p:sldLayoutId id="2147485597"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476189" rtl="0" eaLnBrk="1" latinLnBrk="0" hangingPunct="1">
        <a:lnSpc>
          <a:spcPts val="1667"/>
        </a:lnSpc>
        <a:spcBef>
          <a:spcPct val="0"/>
        </a:spcBef>
        <a:buNone/>
        <a:defRPr sz="1500" b="0" kern="1200">
          <a:solidFill>
            <a:srgbClr val="162934"/>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0" indent="0" algn="l" defTabSz="476189" rtl="0" eaLnBrk="1" latinLnBrk="0" hangingPunct="1">
        <a:spcBef>
          <a:spcPts val="313"/>
        </a:spcBef>
        <a:spcAft>
          <a:spcPts val="313"/>
        </a:spcAft>
        <a:buClr>
          <a:schemeClr val="accent6"/>
        </a:buClr>
        <a:buFont typeface="Wingdings" pitchFamily="2" charset="2"/>
        <a:buNone/>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6838" indent="-186838" algn="l" defTabSz="476189" rtl="0" eaLnBrk="1" latinLnBrk="0" hangingPunct="1">
        <a:spcBef>
          <a:spcPts val="313"/>
        </a:spcBef>
        <a:spcAft>
          <a:spcPts val="313"/>
        </a:spcAft>
        <a:buClr>
          <a:schemeClr val="tx2"/>
        </a:buClr>
        <a:buFont typeface="Arial" pitchFamily="34" charset="0"/>
        <a:buChar char="•"/>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72849" indent="-186012" algn="l" defTabSz="476189" rtl="0" eaLnBrk="1" latinLnBrk="0" hangingPunct="1">
        <a:spcBef>
          <a:spcPts val="313"/>
        </a:spcBef>
        <a:spcAft>
          <a:spcPts val="313"/>
        </a:spcAft>
        <a:buClr>
          <a:schemeClr val="tx2"/>
        </a:buClr>
        <a:buFont typeface="Arial" pitchFamily="34" charset="0"/>
        <a:buChar char="•"/>
        <a:tabLst/>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559687" indent="-186838" algn="l" defTabSz="476189" rtl="0" eaLnBrk="1" latinLnBrk="0" hangingPunct="1">
        <a:spcBef>
          <a:spcPts val="313"/>
        </a:spcBef>
        <a:spcAft>
          <a:spcPts val="313"/>
        </a:spcAft>
        <a:buClr>
          <a:schemeClr val="tx2"/>
        </a:buClr>
        <a:buFont typeface="Arial" pitchFamily="34" charset="0"/>
        <a:buChar char="•"/>
        <a:defRPr sz="1042"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745697" indent="-186012" algn="l" defTabSz="476189" rtl="0" eaLnBrk="1" latinLnBrk="0" hangingPunct="1">
        <a:spcBef>
          <a:spcPts val="313"/>
        </a:spcBef>
        <a:spcAft>
          <a:spcPts val="313"/>
        </a:spcAft>
        <a:buClr>
          <a:schemeClr val="tx2"/>
        </a:buClr>
        <a:buFont typeface="Arial" pitchFamily="34" charset="0"/>
        <a:buChar char="•"/>
        <a:defRPr sz="1042"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886760"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6pPr>
      <a:lvl7pPr marL="1023617"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7pPr>
      <a:lvl8pPr marL="1160474"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8pPr>
      <a:lvl9pPr marL="1297332" indent="-136858" algn="l" defTabSz="476189" rtl="0" eaLnBrk="1" latinLnBrk="0" hangingPunct="1">
        <a:spcBef>
          <a:spcPts val="0"/>
        </a:spcBef>
        <a:spcAft>
          <a:spcPts val="625"/>
        </a:spcAft>
        <a:buClr>
          <a:schemeClr val="bg2"/>
        </a:buClr>
        <a:buFont typeface="Georgia" pitchFamily="18" charset="0"/>
        <a:buChar char="-"/>
        <a:defRPr sz="625" kern="1200">
          <a:solidFill>
            <a:schemeClr val="tx1"/>
          </a:solidFill>
          <a:latin typeface="+mn-lt"/>
          <a:ea typeface="+mn-ea"/>
          <a:cs typeface="+mn-cs"/>
        </a:defRPr>
      </a:lvl9pPr>
    </p:bodyStyle>
    <p:otherStyle>
      <a:defPPr>
        <a:defRPr lang="en-US"/>
      </a:defPPr>
      <a:lvl1pPr marL="0" algn="l" defTabSz="476189" rtl="0" eaLnBrk="1" latinLnBrk="0" hangingPunct="1">
        <a:defRPr sz="938" kern="1200">
          <a:solidFill>
            <a:schemeClr val="tx1"/>
          </a:solidFill>
          <a:latin typeface="+mn-lt"/>
          <a:ea typeface="+mn-ea"/>
          <a:cs typeface="+mn-cs"/>
        </a:defRPr>
      </a:lvl1pPr>
      <a:lvl2pPr marL="238094" algn="l" defTabSz="476189" rtl="0" eaLnBrk="1" latinLnBrk="0" hangingPunct="1">
        <a:defRPr sz="938" kern="1200">
          <a:solidFill>
            <a:schemeClr val="tx1"/>
          </a:solidFill>
          <a:latin typeface="+mn-lt"/>
          <a:ea typeface="+mn-ea"/>
          <a:cs typeface="+mn-cs"/>
        </a:defRPr>
      </a:lvl2pPr>
      <a:lvl3pPr marL="476189" algn="l" defTabSz="476189" rtl="0" eaLnBrk="1" latinLnBrk="0" hangingPunct="1">
        <a:defRPr sz="938" kern="1200">
          <a:solidFill>
            <a:schemeClr val="tx1"/>
          </a:solidFill>
          <a:latin typeface="+mn-lt"/>
          <a:ea typeface="+mn-ea"/>
          <a:cs typeface="+mn-cs"/>
        </a:defRPr>
      </a:lvl3pPr>
      <a:lvl4pPr marL="714282" algn="l" defTabSz="476189" rtl="0" eaLnBrk="1" latinLnBrk="0" hangingPunct="1">
        <a:defRPr sz="938" kern="1200">
          <a:solidFill>
            <a:schemeClr val="tx1"/>
          </a:solidFill>
          <a:latin typeface="+mn-lt"/>
          <a:ea typeface="+mn-ea"/>
          <a:cs typeface="+mn-cs"/>
        </a:defRPr>
      </a:lvl4pPr>
      <a:lvl5pPr marL="952377" algn="l" defTabSz="476189" rtl="0" eaLnBrk="1" latinLnBrk="0" hangingPunct="1">
        <a:defRPr sz="938" kern="1200">
          <a:solidFill>
            <a:schemeClr val="tx1"/>
          </a:solidFill>
          <a:latin typeface="+mn-lt"/>
          <a:ea typeface="+mn-ea"/>
          <a:cs typeface="+mn-cs"/>
        </a:defRPr>
      </a:lvl5pPr>
      <a:lvl6pPr marL="1190471" algn="l" defTabSz="476189" rtl="0" eaLnBrk="1" latinLnBrk="0" hangingPunct="1">
        <a:defRPr sz="938" kern="1200">
          <a:solidFill>
            <a:schemeClr val="tx1"/>
          </a:solidFill>
          <a:latin typeface="+mn-lt"/>
          <a:ea typeface="+mn-ea"/>
          <a:cs typeface="+mn-cs"/>
        </a:defRPr>
      </a:lvl6pPr>
      <a:lvl7pPr marL="1428565" algn="l" defTabSz="476189" rtl="0" eaLnBrk="1" latinLnBrk="0" hangingPunct="1">
        <a:defRPr sz="938" kern="1200">
          <a:solidFill>
            <a:schemeClr val="tx1"/>
          </a:solidFill>
          <a:latin typeface="+mn-lt"/>
          <a:ea typeface="+mn-ea"/>
          <a:cs typeface="+mn-cs"/>
        </a:defRPr>
      </a:lvl7pPr>
      <a:lvl8pPr marL="1666659" algn="l" defTabSz="476189" rtl="0" eaLnBrk="1" latinLnBrk="0" hangingPunct="1">
        <a:defRPr sz="938" kern="1200">
          <a:solidFill>
            <a:schemeClr val="tx1"/>
          </a:solidFill>
          <a:latin typeface="+mn-lt"/>
          <a:ea typeface="+mn-ea"/>
          <a:cs typeface="+mn-cs"/>
        </a:defRPr>
      </a:lvl8pPr>
      <a:lvl9pPr marL="1904753" algn="l" defTabSz="476189" rtl="0" eaLnBrk="1" latinLnBrk="0" hangingPunct="1">
        <a:defRPr sz="93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g"/><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4.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s/_rels/slide1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4.xml"/><Relationship Id="rId5" Type="http://schemas.openxmlformats.org/officeDocument/2006/relationships/image" Target="../media/image55.jpeg"/><Relationship Id="rId4" Type="http://schemas.openxmlformats.org/officeDocument/2006/relationships/image" Target="../media/image54.jpg"/></Relationships>
</file>

<file path=ppt/slides/_rels/slide1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4.xml"/><Relationship Id="rId4" Type="http://schemas.openxmlformats.org/officeDocument/2006/relationships/image" Target="../media/image58.jpeg"/></Relationships>
</file>

<file path=ppt/slides/_rels/slide13.xml.rels><?xml version="1.0" encoding="UTF-8" standalone="yes"?>
<Relationships xmlns="http://schemas.openxmlformats.org/package/2006/relationships"><Relationship Id="rId3" Type="http://schemas.openxmlformats.org/officeDocument/2006/relationships/image" Target="../media/image60.jpeg"/><Relationship Id="rId7" Type="http://schemas.openxmlformats.org/officeDocument/2006/relationships/image" Target="../media/image64.jpeg"/><Relationship Id="rId2" Type="http://schemas.openxmlformats.org/officeDocument/2006/relationships/image" Target="../media/image59.jpeg"/><Relationship Id="rId1" Type="http://schemas.openxmlformats.org/officeDocument/2006/relationships/slideLayout" Target="../slideLayouts/slideLayout4.xml"/><Relationship Id="rId6" Type="http://schemas.openxmlformats.org/officeDocument/2006/relationships/image" Target="../media/image63.jpeg"/><Relationship Id="rId5" Type="http://schemas.openxmlformats.org/officeDocument/2006/relationships/image" Target="../media/image62.jpg"/><Relationship Id="rId4" Type="http://schemas.openxmlformats.org/officeDocument/2006/relationships/image" Target="../media/image61.jpeg"/></Relationships>
</file>

<file path=ppt/slides/_rels/slide14.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4.xml"/><Relationship Id="rId4" Type="http://schemas.openxmlformats.org/officeDocument/2006/relationships/image" Target="../media/image18.jpeg"/></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7.xml"/><Relationship Id="rId5" Type="http://schemas.openxmlformats.org/officeDocument/2006/relationships/image" Target="../media/image22.emf"/><Relationship Id="rId4" Type="http://schemas.openxmlformats.org/officeDocument/2006/relationships/image" Target="../media/image21.jpeg"/></Relationships>
</file>

<file path=ppt/slides/_rels/slide5.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jpg"/><Relationship Id="rId4" Type="http://schemas.openxmlformats.org/officeDocument/2006/relationships/image" Target="../media/image25.jp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4.xml"/><Relationship Id="rId4" Type="http://schemas.openxmlformats.org/officeDocument/2006/relationships/image" Target="../media/image34.jpeg"/></Relationships>
</file>

<file path=ppt/slides/_rels/slide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jpeg"/><Relationship Id="rId12" Type="http://schemas.openxmlformats.org/officeDocument/2006/relationships/image" Target="../media/image46.jpeg"/><Relationship Id="rId2" Type="http://schemas.openxmlformats.org/officeDocument/2006/relationships/image" Target="../media/image36.jpeg"/><Relationship Id="rId1" Type="http://schemas.openxmlformats.org/officeDocument/2006/relationships/slideLayout" Target="../slideLayouts/slideLayout4.xml"/><Relationship Id="rId6" Type="http://schemas.openxmlformats.org/officeDocument/2006/relationships/image" Target="../media/image40.jpeg"/><Relationship Id="rId11" Type="http://schemas.openxmlformats.org/officeDocument/2006/relationships/image" Target="../media/image45.jpeg"/><Relationship Id="rId5" Type="http://schemas.openxmlformats.org/officeDocument/2006/relationships/image" Target="../media/image39.jpeg"/><Relationship Id="rId10" Type="http://schemas.openxmlformats.org/officeDocument/2006/relationships/image" Target="../media/image44.jpeg"/><Relationship Id="rId4" Type="http://schemas.openxmlformats.org/officeDocument/2006/relationships/image" Target="../media/image38.jpeg"/><Relationship Id="rId9" Type="http://schemas.openxmlformats.org/officeDocument/2006/relationships/image" Target="../media/image4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FA8EB51-8825-48AF-BA49-BDBDC558CB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0396" y="2098211"/>
            <a:ext cx="2743200" cy="1889964"/>
          </a:xfrm>
          <a:prstGeom prst="rect">
            <a:avLst/>
          </a:prstGeom>
        </p:spPr>
      </p:pic>
      <p:sp>
        <p:nvSpPr>
          <p:cNvPr id="3" name="Text Placeholder 2">
            <a:extLst>
              <a:ext uri="{FF2B5EF4-FFF2-40B4-BE49-F238E27FC236}">
                <a16:creationId xmlns:a16="http://schemas.microsoft.com/office/drawing/2014/main" id="{382AA2DC-9A3B-416D-AF58-3662B84926CB}"/>
              </a:ext>
            </a:extLst>
          </p:cNvPr>
          <p:cNvSpPr>
            <a:spLocks noGrp="1"/>
          </p:cNvSpPr>
          <p:nvPr>
            <p:ph type="body" sz="quarter" idx="10"/>
          </p:nvPr>
        </p:nvSpPr>
        <p:spPr>
          <a:xfrm>
            <a:off x="230168" y="2751814"/>
            <a:ext cx="4302691" cy="582763"/>
          </a:xfrm>
        </p:spPr>
        <p:txBody>
          <a:bodyPr/>
          <a:lstStyle/>
          <a:p>
            <a:r>
              <a:rPr lang="en-AU" sz="2700" dirty="0"/>
              <a:t>Capability Statement</a:t>
            </a:r>
          </a:p>
        </p:txBody>
      </p:sp>
      <p:pic>
        <p:nvPicPr>
          <p:cNvPr id="11" name="Picture 10">
            <a:extLst>
              <a:ext uri="{FF2B5EF4-FFF2-40B4-BE49-F238E27FC236}">
                <a16:creationId xmlns:a16="http://schemas.microsoft.com/office/drawing/2014/main" id="{8109E9CA-76AF-495B-AA72-ED92D9EC1A4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70725" y="3540191"/>
            <a:ext cx="2780779" cy="2077001"/>
          </a:xfrm>
          <a:prstGeom prst="rect">
            <a:avLst/>
          </a:prstGeom>
        </p:spPr>
      </p:pic>
      <p:pic>
        <p:nvPicPr>
          <p:cNvPr id="13" name="Picture 12">
            <a:extLst>
              <a:ext uri="{FF2B5EF4-FFF2-40B4-BE49-F238E27FC236}">
                <a16:creationId xmlns:a16="http://schemas.microsoft.com/office/drawing/2014/main" id="{A311D1AC-1B37-4E58-9FF1-E352123FFB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2985" y="5075781"/>
            <a:ext cx="2550613" cy="1912960"/>
          </a:xfrm>
          <a:prstGeom prst="rect">
            <a:avLst/>
          </a:prstGeom>
        </p:spPr>
      </p:pic>
      <p:pic>
        <p:nvPicPr>
          <p:cNvPr id="6" name="Picture 5">
            <a:extLst>
              <a:ext uri="{FF2B5EF4-FFF2-40B4-BE49-F238E27FC236}">
                <a16:creationId xmlns:a16="http://schemas.microsoft.com/office/drawing/2014/main" id="{53A46498-6B77-4598-A03D-EDAE9C6B3C2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8831" y="5678078"/>
            <a:ext cx="2602283" cy="1249773"/>
          </a:xfrm>
          <a:prstGeom prst="rect">
            <a:avLst/>
          </a:prstGeom>
        </p:spPr>
      </p:pic>
    </p:spTree>
    <p:extLst>
      <p:ext uri="{BB962C8B-B14F-4D97-AF65-F5344CB8AC3E}">
        <p14:creationId xmlns:p14="http://schemas.microsoft.com/office/powerpoint/2010/main" val="34341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75E2-0941-0941-77BE-102D92538F0E}"/>
              </a:ext>
            </a:extLst>
          </p:cNvPr>
          <p:cNvSpPr>
            <a:spLocks noGrp="1"/>
          </p:cNvSpPr>
          <p:nvPr>
            <p:ph type="title"/>
          </p:nvPr>
        </p:nvSpPr>
        <p:spPr/>
        <p:txBody>
          <a:bodyPr/>
          <a:lstStyle/>
          <a:p>
            <a:r>
              <a:rPr lang="en-AU" dirty="0"/>
              <a:t>Maddington workshop Before &amp; After	</a:t>
            </a:r>
          </a:p>
        </p:txBody>
      </p:sp>
      <p:sp>
        <p:nvSpPr>
          <p:cNvPr id="4" name="Slide Number Placeholder 3">
            <a:extLst>
              <a:ext uri="{FF2B5EF4-FFF2-40B4-BE49-F238E27FC236}">
                <a16:creationId xmlns:a16="http://schemas.microsoft.com/office/drawing/2014/main" id="{34D1F46B-5390-5880-EA65-D953AB310B96}"/>
              </a:ext>
            </a:extLst>
          </p:cNvPr>
          <p:cNvSpPr>
            <a:spLocks noGrp="1"/>
          </p:cNvSpPr>
          <p:nvPr>
            <p:ph type="sldNum" sz="quarter" idx="11"/>
          </p:nvPr>
        </p:nvSpPr>
        <p:spPr/>
        <p:txBody>
          <a:bodyPr/>
          <a:lstStyle/>
          <a:p>
            <a:r>
              <a:rPr lang="en-AU"/>
              <a:t> Offshore Mining and Civil  / </a:t>
            </a:r>
            <a:fld id="{CFD780AD-5876-4BCA-80DC-E96648A7269F}" type="slidenum">
              <a:rPr lang="en-AU" smtClean="0"/>
              <a:pPr/>
              <a:t>10</a:t>
            </a:fld>
            <a:endParaRPr lang="en-AU" dirty="0"/>
          </a:p>
        </p:txBody>
      </p:sp>
      <p:pic>
        <p:nvPicPr>
          <p:cNvPr id="3" name="Content Placeholder 2" descr="A truck parked under a covered area&#10;&#10;Description automatically generated with low confidence">
            <a:extLst>
              <a:ext uri="{FF2B5EF4-FFF2-40B4-BE49-F238E27FC236}">
                <a16:creationId xmlns:a16="http://schemas.microsoft.com/office/drawing/2014/main" id="{EA56639E-A8D4-D658-BF00-3C9B64ACBB66}"/>
              </a:ext>
            </a:extLst>
          </p:cNvPr>
          <p:cNvPicPr>
            <a:picLocks noGrp="1" noChangeAspect="1"/>
          </p:cNvPicPr>
          <p:nvPr>
            <p:ph sz="quarter" idx="10"/>
          </p:nvPr>
        </p:nvPicPr>
        <p:blipFill>
          <a:blip r:embed="rId2" cstate="print">
            <a:extLst>
              <a:ext uri="{28A0092B-C50C-407E-A947-70E740481C1C}">
                <a14:useLocalDpi xmlns:a14="http://schemas.microsoft.com/office/drawing/2010/main" val="0"/>
              </a:ext>
            </a:extLst>
          </a:blip>
          <a:stretch>
            <a:fillRect/>
          </a:stretch>
        </p:blipFill>
        <p:spPr>
          <a:xfrm>
            <a:off x="718966" y="1940789"/>
            <a:ext cx="2410594" cy="1807580"/>
          </a:xfrm>
          <a:prstGeom prst="rect">
            <a:avLst/>
          </a:prstGeom>
        </p:spPr>
      </p:pic>
      <p:pic>
        <p:nvPicPr>
          <p:cNvPr id="6" name="Picture 5" descr="A picture containing sky, outdoor, truck, transport&#10;&#10;Description automatically generated">
            <a:extLst>
              <a:ext uri="{FF2B5EF4-FFF2-40B4-BE49-F238E27FC236}">
                <a16:creationId xmlns:a16="http://schemas.microsoft.com/office/drawing/2014/main" id="{7A9CDC1C-F54D-C507-6F62-5D43408157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9109" y="1849333"/>
            <a:ext cx="2653990" cy="1990493"/>
          </a:xfrm>
          <a:prstGeom prst="rect">
            <a:avLst/>
          </a:prstGeom>
        </p:spPr>
      </p:pic>
      <p:pic>
        <p:nvPicPr>
          <p:cNvPr id="15" name="Picture 14" descr="A picture containing sky, ground, outdoor, truck&#10;&#10;Description automatically generated">
            <a:extLst>
              <a:ext uri="{FF2B5EF4-FFF2-40B4-BE49-F238E27FC236}">
                <a16:creationId xmlns:a16="http://schemas.microsoft.com/office/drawing/2014/main" id="{83B5683F-A4C8-DD5E-08EC-688217A67E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96804" y="5138358"/>
            <a:ext cx="2234892" cy="1676169"/>
          </a:xfrm>
          <a:prstGeom prst="rect">
            <a:avLst/>
          </a:prstGeom>
        </p:spPr>
      </p:pic>
      <p:pic>
        <p:nvPicPr>
          <p:cNvPr id="17" name="Picture 16" descr="A picture containing yellow, outdoor, sky, ground&#10;&#10;Description automatically generated">
            <a:extLst>
              <a:ext uri="{FF2B5EF4-FFF2-40B4-BE49-F238E27FC236}">
                <a16:creationId xmlns:a16="http://schemas.microsoft.com/office/drawing/2014/main" id="{4DB852F6-0EF2-AA86-66AF-98FC319ED6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4670" y="5138359"/>
            <a:ext cx="2234890" cy="1676168"/>
          </a:xfrm>
          <a:prstGeom prst="rect">
            <a:avLst/>
          </a:prstGeom>
        </p:spPr>
      </p:pic>
      <p:pic>
        <p:nvPicPr>
          <p:cNvPr id="7" name="Picture 6" descr="A picture containing sky, outdoor, ground, yellow&#10;&#10;Description automatically generated">
            <a:extLst>
              <a:ext uri="{FF2B5EF4-FFF2-40B4-BE49-F238E27FC236}">
                <a16:creationId xmlns:a16="http://schemas.microsoft.com/office/drawing/2014/main" id="{DFECBBF2-B2F1-1A24-0B20-FF331F4770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12115" y="6537903"/>
            <a:ext cx="3057746" cy="2293310"/>
          </a:xfrm>
          <a:prstGeom prst="rect">
            <a:avLst/>
          </a:prstGeom>
        </p:spPr>
      </p:pic>
      <p:sp>
        <p:nvSpPr>
          <p:cNvPr id="8" name="TextBox 7">
            <a:extLst>
              <a:ext uri="{FF2B5EF4-FFF2-40B4-BE49-F238E27FC236}">
                <a16:creationId xmlns:a16="http://schemas.microsoft.com/office/drawing/2014/main" id="{201D07D0-B9E8-4FAF-4139-B8DA8CE65D09}"/>
              </a:ext>
            </a:extLst>
          </p:cNvPr>
          <p:cNvSpPr txBox="1"/>
          <p:nvPr/>
        </p:nvSpPr>
        <p:spPr>
          <a:xfrm>
            <a:off x="626306" y="4282266"/>
            <a:ext cx="5605386" cy="646331"/>
          </a:xfrm>
          <a:prstGeom prst="rect">
            <a:avLst/>
          </a:prstGeom>
          <a:noFill/>
        </p:spPr>
        <p:txBody>
          <a:bodyPr wrap="square" rtlCol="0">
            <a:spAutoFit/>
          </a:bodyPr>
          <a:lstStyle/>
          <a:p>
            <a:pPr algn="ctr"/>
            <a:r>
              <a:rPr lang="en-AU" dirty="0"/>
              <a:t>Komatsu PC850 Excavator </a:t>
            </a:r>
          </a:p>
          <a:p>
            <a:pPr algn="ctr"/>
            <a:r>
              <a:rPr lang="en-AU" dirty="0"/>
              <a:t>Off Hire, repairs and paint	 </a:t>
            </a:r>
          </a:p>
        </p:txBody>
      </p:sp>
      <p:sp>
        <p:nvSpPr>
          <p:cNvPr id="9" name="TextBox 8">
            <a:extLst>
              <a:ext uri="{FF2B5EF4-FFF2-40B4-BE49-F238E27FC236}">
                <a16:creationId xmlns:a16="http://schemas.microsoft.com/office/drawing/2014/main" id="{BF374DA1-0C0B-0CED-0A29-94C9CE3D63BE}"/>
              </a:ext>
            </a:extLst>
          </p:cNvPr>
          <p:cNvSpPr txBox="1"/>
          <p:nvPr/>
        </p:nvSpPr>
        <p:spPr>
          <a:xfrm>
            <a:off x="1521412" y="1189906"/>
            <a:ext cx="3517768" cy="646331"/>
          </a:xfrm>
          <a:prstGeom prst="rect">
            <a:avLst/>
          </a:prstGeom>
          <a:noFill/>
        </p:spPr>
        <p:txBody>
          <a:bodyPr wrap="square" rtlCol="0">
            <a:spAutoFit/>
          </a:bodyPr>
          <a:lstStyle/>
          <a:p>
            <a:pPr algn="ctr"/>
            <a:r>
              <a:rPr lang="en-AU" dirty="0"/>
              <a:t>Hino Prime Mover</a:t>
            </a:r>
          </a:p>
          <a:p>
            <a:pPr algn="ctr"/>
            <a:r>
              <a:rPr lang="en-AU" dirty="0"/>
              <a:t> Off Hire, wash and minor repairs</a:t>
            </a:r>
          </a:p>
        </p:txBody>
      </p:sp>
    </p:spTree>
    <p:extLst>
      <p:ext uri="{BB962C8B-B14F-4D97-AF65-F5344CB8AC3E}">
        <p14:creationId xmlns:p14="http://schemas.microsoft.com/office/powerpoint/2010/main" val="31318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9C48E-AB6E-CEC6-61A3-264DA4953B89}"/>
              </a:ext>
            </a:extLst>
          </p:cNvPr>
          <p:cNvSpPr>
            <a:spLocks noGrp="1"/>
          </p:cNvSpPr>
          <p:nvPr>
            <p:ph type="title"/>
          </p:nvPr>
        </p:nvSpPr>
        <p:spPr/>
        <p:txBody>
          <a:bodyPr/>
          <a:lstStyle/>
          <a:p>
            <a:endParaRPr lang="en-AU" dirty="0"/>
          </a:p>
        </p:txBody>
      </p:sp>
      <p:sp>
        <p:nvSpPr>
          <p:cNvPr id="4" name="Slide Number Placeholder 3">
            <a:extLst>
              <a:ext uri="{FF2B5EF4-FFF2-40B4-BE49-F238E27FC236}">
                <a16:creationId xmlns:a16="http://schemas.microsoft.com/office/drawing/2014/main" id="{06E698E1-FFE7-F661-DDDB-ACFFB36B6639}"/>
              </a:ext>
            </a:extLst>
          </p:cNvPr>
          <p:cNvSpPr>
            <a:spLocks noGrp="1"/>
          </p:cNvSpPr>
          <p:nvPr>
            <p:ph type="sldNum" sz="quarter" idx="11"/>
          </p:nvPr>
        </p:nvSpPr>
        <p:spPr/>
        <p:txBody>
          <a:bodyPr/>
          <a:lstStyle/>
          <a:p>
            <a:r>
              <a:rPr lang="en-AU"/>
              <a:t> Offshore Mining and Civil  / </a:t>
            </a:r>
            <a:fld id="{CFD780AD-5876-4BCA-80DC-E96648A7269F}" type="slidenum">
              <a:rPr lang="en-AU" smtClean="0"/>
              <a:pPr/>
              <a:t>11</a:t>
            </a:fld>
            <a:endParaRPr lang="en-AU" dirty="0"/>
          </a:p>
        </p:txBody>
      </p:sp>
      <p:pic>
        <p:nvPicPr>
          <p:cNvPr id="5" name="Picture 4" descr="A picture containing building, yellow&#10;&#10;Description automatically generated">
            <a:extLst>
              <a:ext uri="{FF2B5EF4-FFF2-40B4-BE49-F238E27FC236}">
                <a16:creationId xmlns:a16="http://schemas.microsoft.com/office/drawing/2014/main" id="{B9650885-5452-D485-6390-DD1C2E7CDB7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2871" y="2385357"/>
            <a:ext cx="2834268" cy="2125701"/>
          </a:xfrm>
          <a:prstGeom prst="rect">
            <a:avLst/>
          </a:prstGeom>
        </p:spPr>
      </p:pic>
      <p:sp>
        <p:nvSpPr>
          <p:cNvPr id="15" name="TextBox 14">
            <a:extLst>
              <a:ext uri="{FF2B5EF4-FFF2-40B4-BE49-F238E27FC236}">
                <a16:creationId xmlns:a16="http://schemas.microsoft.com/office/drawing/2014/main" id="{98AFBE69-FDE4-A769-5E94-EB579B5FE3F0}"/>
              </a:ext>
            </a:extLst>
          </p:cNvPr>
          <p:cNvSpPr txBox="1"/>
          <p:nvPr/>
        </p:nvSpPr>
        <p:spPr>
          <a:xfrm>
            <a:off x="412871" y="1219211"/>
            <a:ext cx="6281064" cy="923330"/>
          </a:xfrm>
          <a:prstGeom prst="rect">
            <a:avLst/>
          </a:prstGeom>
          <a:noFill/>
        </p:spPr>
        <p:txBody>
          <a:bodyPr wrap="square" rtlCol="0">
            <a:spAutoFit/>
          </a:bodyPr>
          <a:lstStyle/>
          <a:p>
            <a:pPr algn="ctr"/>
            <a:r>
              <a:rPr lang="en-AU" b="1" dirty="0"/>
              <a:t>16M Grader </a:t>
            </a:r>
          </a:p>
          <a:p>
            <a:pPr algn="r"/>
            <a:r>
              <a:rPr lang="en-AU" dirty="0"/>
              <a:t>Major overhaul, centre hitch line bore, front axle, circle and blade repairs. PIP updates			</a:t>
            </a:r>
          </a:p>
        </p:txBody>
      </p:sp>
      <p:pic>
        <p:nvPicPr>
          <p:cNvPr id="29" name="Picture 28" descr="A picture containing yellow&#10;&#10;Description automatically generated">
            <a:extLst>
              <a:ext uri="{FF2B5EF4-FFF2-40B4-BE49-F238E27FC236}">
                <a16:creationId xmlns:a16="http://schemas.microsoft.com/office/drawing/2014/main" id="{36505BF9-3738-B4E1-0900-6C7CD71E1A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29571" y="2797636"/>
            <a:ext cx="1985395" cy="2647193"/>
          </a:xfrm>
          <a:prstGeom prst="rect">
            <a:avLst/>
          </a:prstGeom>
        </p:spPr>
      </p:pic>
      <p:pic>
        <p:nvPicPr>
          <p:cNvPr id="31" name="Picture 30" descr="A picture containing miller&#10;&#10;Description automatically generated">
            <a:extLst>
              <a:ext uri="{FF2B5EF4-FFF2-40B4-BE49-F238E27FC236}">
                <a16:creationId xmlns:a16="http://schemas.microsoft.com/office/drawing/2014/main" id="{5ED14234-BA06-9041-2B5F-0D791F294B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2871" y="5660867"/>
            <a:ext cx="3016129" cy="2263922"/>
          </a:xfrm>
          <a:prstGeom prst="rect">
            <a:avLst/>
          </a:prstGeom>
        </p:spPr>
      </p:pic>
      <p:pic>
        <p:nvPicPr>
          <p:cNvPr id="6" name="Picture 5" descr="A picture containing sky, truck, outdoor, ground&#10;&#10;Description automatically generated">
            <a:extLst>
              <a:ext uri="{FF2B5EF4-FFF2-40B4-BE49-F238E27FC236}">
                <a16:creationId xmlns:a16="http://schemas.microsoft.com/office/drawing/2014/main" id="{F3214E0E-56C7-8F0E-5DBE-475DE3B3D06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51597" y="6724461"/>
            <a:ext cx="2536903" cy="1902677"/>
          </a:xfrm>
          <a:prstGeom prst="rect">
            <a:avLst/>
          </a:prstGeom>
        </p:spPr>
      </p:pic>
      <p:sp>
        <p:nvSpPr>
          <p:cNvPr id="33" name="Content Placeholder 32">
            <a:extLst>
              <a:ext uri="{FF2B5EF4-FFF2-40B4-BE49-F238E27FC236}">
                <a16:creationId xmlns:a16="http://schemas.microsoft.com/office/drawing/2014/main" id="{70F18B40-E105-3469-1D5D-87417FFD74F2}"/>
              </a:ext>
            </a:extLst>
          </p:cNvPr>
          <p:cNvSpPr>
            <a:spLocks noGrp="1"/>
          </p:cNvSpPr>
          <p:nvPr>
            <p:ph sz="quarter" idx="10"/>
          </p:nvPr>
        </p:nvSpPr>
        <p:spPr/>
        <p:txBody>
          <a:bodyPr/>
          <a:lstStyle/>
          <a:p>
            <a:endParaRPr lang="en-AU" dirty="0"/>
          </a:p>
        </p:txBody>
      </p:sp>
    </p:spTree>
    <p:extLst>
      <p:ext uri="{BB962C8B-B14F-4D97-AF65-F5344CB8AC3E}">
        <p14:creationId xmlns:p14="http://schemas.microsoft.com/office/powerpoint/2010/main" val="1515514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B31B5-77DF-031D-5F91-66BF9027F80E}"/>
              </a:ext>
            </a:extLst>
          </p:cNvPr>
          <p:cNvSpPr>
            <a:spLocks noGrp="1"/>
          </p:cNvSpPr>
          <p:nvPr>
            <p:ph type="title"/>
          </p:nvPr>
        </p:nvSpPr>
        <p:spPr/>
        <p:txBody>
          <a:bodyPr/>
          <a:lstStyle/>
          <a:p>
            <a:endParaRPr lang="en-AU"/>
          </a:p>
        </p:txBody>
      </p:sp>
      <p:pic>
        <p:nvPicPr>
          <p:cNvPr id="8" name="Content Placeholder 7" descr="A picture containing outdoor, sky, truck, yellow&#10;&#10;Description automatically generated">
            <a:extLst>
              <a:ext uri="{FF2B5EF4-FFF2-40B4-BE49-F238E27FC236}">
                <a16:creationId xmlns:a16="http://schemas.microsoft.com/office/drawing/2014/main" id="{26DB22D0-DEF1-42C6-60BA-B8AC5381EBCC}"/>
              </a:ext>
            </a:extLst>
          </p:cNvPr>
          <p:cNvPicPr>
            <a:picLocks noGrp="1" noChangeAspect="1"/>
          </p:cNvPicPr>
          <p:nvPr>
            <p:ph sz="quarter" idx="10"/>
          </p:nvPr>
        </p:nvPicPr>
        <p:blipFill>
          <a:blip r:embed="rId2" cstate="print">
            <a:extLst>
              <a:ext uri="{28A0092B-C50C-407E-A947-70E740481C1C}">
                <a14:useLocalDpi xmlns:a14="http://schemas.microsoft.com/office/drawing/2010/main" val="0"/>
              </a:ext>
            </a:extLst>
          </a:blip>
          <a:stretch>
            <a:fillRect/>
          </a:stretch>
        </p:blipFill>
        <p:spPr>
          <a:xfrm>
            <a:off x="621862" y="2358049"/>
            <a:ext cx="2112471" cy="2816628"/>
          </a:xfrm>
        </p:spPr>
      </p:pic>
      <p:sp>
        <p:nvSpPr>
          <p:cNvPr id="4" name="Slide Number Placeholder 3">
            <a:extLst>
              <a:ext uri="{FF2B5EF4-FFF2-40B4-BE49-F238E27FC236}">
                <a16:creationId xmlns:a16="http://schemas.microsoft.com/office/drawing/2014/main" id="{D4F94CBF-BF8B-F981-FE6E-5FF498A3FD2A}"/>
              </a:ext>
            </a:extLst>
          </p:cNvPr>
          <p:cNvSpPr>
            <a:spLocks noGrp="1"/>
          </p:cNvSpPr>
          <p:nvPr>
            <p:ph type="sldNum" sz="quarter" idx="11"/>
          </p:nvPr>
        </p:nvSpPr>
        <p:spPr/>
        <p:txBody>
          <a:bodyPr/>
          <a:lstStyle/>
          <a:p>
            <a:r>
              <a:rPr lang="en-AU"/>
              <a:t> Offshore Mining and Civil  / </a:t>
            </a:r>
            <a:fld id="{CFD780AD-5876-4BCA-80DC-E96648A7269F}" type="slidenum">
              <a:rPr lang="en-AU" smtClean="0"/>
              <a:pPr/>
              <a:t>12</a:t>
            </a:fld>
            <a:endParaRPr lang="en-AU" dirty="0"/>
          </a:p>
        </p:txBody>
      </p:sp>
      <p:pic>
        <p:nvPicPr>
          <p:cNvPr id="5" name="Picture 4">
            <a:extLst>
              <a:ext uri="{FF2B5EF4-FFF2-40B4-BE49-F238E27FC236}">
                <a16:creationId xmlns:a16="http://schemas.microsoft.com/office/drawing/2014/main" id="{AC2DE40C-EBE3-D271-D33C-622311C0E5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8999" y="3226487"/>
            <a:ext cx="2995748" cy="2246811"/>
          </a:xfrm>
          <a:prstGeom prst="rect">
            <a:avLst/>
          </a:prstGeom>
        </p:spPr>
      </p:pic>
      <p:pic>
        <p:nvPicPr>
          <p:cNvPr id="6" name="Picture 5" descr="A picture containing outdoor, sky, yellow, truck&#10;&#10;Description automatically generated">
            <a:extLst>
              <a:ext uri="{FF2B5EF4-FFF2-40B4-BE49-F238E27FC236}">
                <a16:creationId xmlns:a16="http://schemas.microsoft.com/office/drawing/2014/main" id="{6AD895BC-F0AB-9AD1-000B-C8673F3E1AB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44464" y="6193089"/>
            <a:ext cx="2807901" cy="2105926"/>
          </a:xfrm>
          <a:prstGeom prst="rect">
            <a:avLst/>
          </a:prstGeom>
        </p:spPr>
      </p:pic>
      <p:sp>
        <p:nvSpPr>
          <p:cNvPr id="9" name="TextBox 8">
            <a:extLst>
              <a:ext uri="{FF2B5EF4-FFF2-40B4-BE49-F238E27FC236}">
                <a16:creationId xmlns:a16="http://schemas.microsoft.com/office/drawing/2014/main" id="{CDFA2973-4D0D-D215-C165-02A3FCB44493}"/>
              </a:ext>
            </a:extLst>
          </p:cNvPr>
          <p:cNvSpPr txBox="1"/>
          <p:nvPr/>
        </p:nvSpPr>
        <p:spPr>
          <a:xfrm>
            <a:off x="512676" y="1458921"/>
            <a:ext cx="6102678" cy="646331"/>
          </a:xfrm>
          <a:prstGeom prst="rect">
            <a:avLst/>
          </a:prstGeom>
          <a:noFill/>
        </p:spPr>
        <p:txBody>
          <a:bodyPr wrap="square" rtlCol="0">
            <a:spAutoFit/>
          </a:bodyPr>
          <a:lstStyle/>
          <a:p>
            <a:pPr algn="ctr"/>
            <a:r>
              <a:rPr lang="en-AU" dirty="0"/>
              <a:t>D10T Import </a:t>
            </a:r>
          </a:p>
          <a:p>
            <a:pPr algn="ctr"/>
            <a:r>
              <a:rPr lang="en-AU" dirty="0"/>
              <a:t>Fit Out, Mine Spec, Wear Package, Repairs and paint	</a:t>
            </a:r>
          </a:p>
        </p:txBody>
      </p:sp>
    </p:spTree>
    <p:extLst>
      <p:ext uri="{BB962C8B-B14F-4D97-AF65-F5344CB8AC3E}">
        <p14:creationId xmlns:p14="http://schemas.microsoft.com/office/powerpoint/2010/main" val="6672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8B2EA-EF76-D030-E8C3-DB5E785CA1BA}"/>
              </a:ext>
            </a:extLst>
          </p:cNvPr>
          <p:cNvSpPr>
            <a:spLocks noGrp="1"/>
          </p:cNvSpPr>
          <p:nvPr>
            <p:ph type="title"/>
          </p:nvPr>
        </p:nvSpPr>
        <p:spPr/>
        <p:txBody>
          <a:bodyPr/>
          <a:lstStyle/>
          <a:p>
            <a:r>
              <a:rPr lang="en-AU" dirty="0"/>
              <a:t>Sample pictures	</a:t>
            </a:r>
          </a:p>
        </p:txBody>
      </p:sp>
      <p:sp>
        <p:nvSpPr>
          <p:cNvPr id="16" name="Content Placeholder 15">
            <a:extLst>
              <a:ext uri="{FF2B5EF4-FFF2-40B4-BE49-F238E27FC236}">
                <a16:creationId xmlns:a16="http://schemas.microsoft.com/office/drawing/2014/main" id="{35C9A881-83DC-503A-E590-32D91872F6C1}"/>
              </a:ext>
            </a:extLst>
          </p:cNvPr>
          <p:cNvSpPr>
            <a:spLocks noGrp="1"/>
          </p:cNvSpPr>
          <p:nvPr>
            <p:ph sz="quarter" idx="10"/>
          </p:nvPr>
        </p:nvSpPr>
        <p:spPr/>
        <p:txBody>
          <a:bodyPr/>
          <a:lstStyle/>
          <a:p>
            <a:endParaRPr lang="en-AU"/>
          </a:p>
        </p:txBody>
      </p:sp>
      <p:sp>
        <p:nvSpPr>
          <p:cNvPr id="4" name="Slide Number Placeholder 3">
            <a:extLst>
              <a:ext uri="{FF2B5EF4-FFF2-40B4-BE49-F238E27FC236}">
                <a16:creationId xmlns:a16="http://schemas.microsoft.com/office/drawing/2014/main" id="{C1101E0F-6766-A685-E2C4-CF81E7AE192F}"/>
              </a:ext>
            </a:extLst>
          </p:cNvPr>
          <p:cNvSpPr>
            <a:spLocks noGrp="1"/>
          </p:cNvSpPr>
          <p:nvPr>
            <p:ph type="sldNum" sz="quarter" idx="11"/>
          </p:nvPr>
        </p:nvSpPr>
        <p:spPr/>
        <p:txBody>
          <a:bodyPr/>
          <a:lstStyle/>
          <a:p>
            <a:r>
              <a:rPr lang="en-AU"/>
              <a:t> Offshore Mining and Civil  / </a:t>
            </a:r>
            <a:fld id="{CFD780AD-5876-4BCA-80DC-E96648A7269F}" type="slidenum">
              <a:rPr lang="en-AU" smtClean="0"/>
              <a:pPr/>
              <a:t>13</a:t>
            </a:fld>
            <a:endParaRPr lang="en-AU" dirty="0"/>
          </a:p>
        </p:txBody>
      </p:sp>
      <p:pic>
        <p:nvPicPr>
          <p:cNvPr id="13" name="Picture 12" descr="A picture containing sky, outdoor, yellow, truck&#10;&#10;Description automatically generated">
            <a:extLst>
              <a:ext uri="{FF2B5EF4-FFF2-40B4-BE49-F238E27FC236}">
                <a16:creationId xmlns:a16="http://schemas.microsoft.com/office/drawing/2014/main" id="{8229EEC1-BD3A-E31E-E33A-3534C75A14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60559" y="2033607"/>
            <a:ext cx="2572104" cy="1929078"/>
          </a:xfrm>
          <a:prstGeom prst="rect">
            <a:avLst/>
          </a:prstGeom>
        </p:spPr>
      </p:pic>
      <p:pic>
        <p:nvPicPr>
          <p:cNvPr id="15" name="Picture 14" descr="A picture containing outdoor, ground, truck, transport&#10;&#10;Description automatically generated">
            <a:extLst>
              <a:ext uri="{FF2B5EF4-FFF2-40B4-BE49-F238E27FC236}">
                <a16:creationId xmlns:a16="http://schemas.microsoft.com/office/drawing/2014/main" id="{DDDE6414-CA99-6C24-5BAB-3FBA673A8D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1003" y="4660942"/>
            <a:ext cx="2280356" cy="3040475"/>
          </a:xfrm>
          <a:prstGeom prst="rect">
            <a:avLst/>
          </a:prstGeom>
        </p:spPr>
      </p:pic>
      <p:pic>
        <p:nvPicPr>
          <p:cNvPr id="17" name="Picture 16" descr="A picture containing outdoor, nature, sandy, day&#10;&#10;Description automatically generated">
            <a:extLst>
              <a:ext uri="{FF2B5EF4-FFF2-40B4-BE49-F238E27FC236}">
                <a16:creationId xmlns:a16="http://schemas.microsoft.com/office/drawing/2014/main" id="{A1333B66-E744-3D12-C813-755F386EE93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6369" y="2068445"/>
            <a:ext cx="1928967" cy="2411209"/>
          </a:xfrm>
          <a:prstGeom prst="rect">
            <a:avLst/>
          </a:prstGeom>
        </p:spPr>
      </p:pic>
      <p:pic>
        <p:nvPicPr>
          <p:cNvPr id="19" name="Picture 18" descr="A picture containing outdoor, sky, water, nature&#10;&#10;Description automatically generated">
            <a:extLst>
              <a:ext uri="{FF2B5EF4-FFF2-40B4-BE49-F238E27FC236}">
                <a16:creationId xmlns:a16="http://schemas.microsoft.com/office/drawing/2014/main" id="{996E6362-FE2A-5099-463F-32E37FC0DCB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85822" y="4477570"/>
            <a:ext cx="2572103" cy="1929077"/>
          </a:xfrm>
          <a:prstGeom prst="rect">
            <a:avLst/>
          </a:prstGeom>
        </p:spPr>
      </p:pic>
      <p:pic>
        <p:nvPicPr>
          <p:cNvPr id="21" name="Picture 20" descr="A picture containing outdoor, truck, sky, ground&#10;&#10;Description automatically generated">
            <a:extLst>
              <a:ext uri="{FF2B5EF4-FFF2-40B4-BE49-F238E27FC236}">
                <a16:creationId xmlns:a16="http://schemas.microsoft.com/office/drawing/2014/main" id="{0311C570-052A-C460-86AD-C26A7A3557F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76057" y="6533635"/>
            <a:ext cx="2333492" cy="1750119"/>
          </a:xfrm>
          <a:prstGeom prst="rect">
            <a:avLst/>
          </a:prstGeom>
        </p:spPr>
      </p:pic>
      <p:pic>
        <p:nvPicPr>
          <p:cNvPr id="23" name="Picture 22" descr="A picture containing sky, outdoor, ground, outdoor object&#10;&#10;Description automatically generated">
            <a:extLst>
              <a:ext uri="{FF2B5EF4-FFF2-40B4-BE49-F238E27FC236}">
                <a16:creationId xmlns:a16="http://schemas.microsoft.com/office/drawing/2014/main" id="{0D0A3947-045B-9107-F351-AF3324AAA1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03616" y="7222820"/>
            <a:ext cx="2178756" cy="1634067"/>
          </a:xfrm>
          <a:prstGeom prst="rect">
            <a:avLst/>
          </a:prstGeom>
        </p:spPr>
      </p:pic>
    </p:spTree>
    <p:extLst>
      <p:ext uri="{BB962C8B-B14F-4D97-AF65-F5344CB8AC3E}">
        <p14:creationId xmlns:p14="http://schemas.microsoft.com/office/powerpoint/2010/main" val="40109619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23F8A1-D406-4AED-8818-3C6460313BCC}"/>
              </a:ext>
            </a:extLst>
          </p:cNvPr>
          <p:cNvSpPr>
            <a:spLocks noGrp="1"/>
          </p:cNvSpPr>
          <p:nvPr>
            <p:ph type="title"/>
          </p:nvPr>
        </p:nvSpPr>
        <p:spPr/>
        <p:txBody>
          <a:bodyPr/>
          <a:lstStyle/>
          <a:p>
            <a:pPr algn="ctr"/>
            <a:r>
              <a:rPr lang="en-AU" dirty="0"/>
              <a:t>Key Personal &amp; Contacts	</a:t>
            </a:r>
          </a:p>
        </p:txBody>
      </p:sp>
      <p:pic>
        <p:nvPicPr>
          <p:cNvPr id="12" name="Content Placeholder 11">
            <a:extLst>
              <a:ext uri="{FF2B5EF4-FFF2-40B4-BE49-F238E27FC236}">
                <a16:creationId xmlns:a16="http://schemas.microsoft.com/office/drawing/2014/main" id="{8EBD6F30-C2EC-48B8-91BD-D3486D9B8CC6}"/>
              </a:ext>
            </a:extLst>
          </p:cNvPr>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1148561" y="2905123"/>
            <a:ext cx="4988070" cy="372546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Slide Number Placeholder 3">
            <a:extLst>
              <a:ext uri="{FF2B5EF4-FFF2-40B4-BE49-F238E27FC236}">
                <a16:creationId xmlns:a16="http://schemas.microsoft.com/office/drawing/2014/main" id="{AF4C4C67-46F4-4E93-A007-A515723EE9CD}"/>
              </a:ext>
            </a:extLst>
          </p:cNvPr>
          <p:cNvSpPr>
            <a:spLocks noGrp="1"/>
          </p:cNvSpPr>
          <p:nvPr>
            <p:ph type="sldNum" sz="quarter" idx="11"/>
          </p:nvPr>
        </p:nvSpPr>
        <p:spPr/>
        <p:txBody>
          <a:bodyPr/>
          <a:lstStyle/>
          <a:p>
            <a:r>
              <a:rPr lang="en-AU" dirty="0"/>
              <a:t> Offshore Mining and Civil  / </a:t>
            </a:r>
            <a:fld id="{CFD780AD-5876-4BCA-80DC-E96648A7269F}" type="slidenum">
              <a:rPr lang="en-AU" smtClean="0"/>
              <a:pPr/>
              <a:t>14</a:t>
            </a:fld>
            <a:endParaRPr lang="en-AU" dirty="0"/>
          </a:p>
        </p:txBody>
      </p:sp>
      <p:sp>
        <p:nvSpPr>
          <p:cNvPr id="8" name="TextBox 7">
            <a:extLst>
              <a:ext uri="{FF2B5EF4-FFF2-40B4-BE49-F238E27FC236}">
                <a16:creationId xmlns:a16="http://schemas.microsoft.com/office/drawing/2014/main" id="{E10EA312-6EC3-4A5A-84B9-588CCA9E0FDE}"/>
              </a:ext>
            </a:extLst>
          </p:cNvPr>
          <p:cNvSpPr txBox="1"/>
          <p:nvPr/>
        </p:nvSpPr>
        <p:spPr>
          <a:xfrm rot="10800000" flipV="1">
            <a:off x="3288584" y="3649061"/>
            <a:ext cx="2944393" cy="507831"/>
          </a:xfrm>
          <a:prstGeom prst="rect">
            <a:avLst/>
          </a:prstGeom>
          <a:noFill/>
        </p:spPr>
        <p:txBody>
          <a:bodyPr wrap="square" rtlCol="0">
            <a:spAutoFit/>
          </a:bodyPr>
          <a:lstStyle/>
          <a:p>
            <a:r>
              <a:rPr lang="en-AU" sz="1350" dirty="0"/>
              <a:t>	</a:t>
            </a:r>
          </a:p>
          <a:p>
            <a:endParaRPr lang="en-AU" sz="1350" dirty="0"/>
          </a:p>
        </p:txBody>
      </p:sp>
    </p:spTree>
    <p:extLst>
      <p:ext uri="{BB962C8B-B14F-4D97-AF65-F5344CB8AC3E}">
        <p14:creationId xmlns:p14="http://schemas.microsoft.com/office/powerpoint/2010/main" val="33626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0E27EE11-B8CD-41C1-B79B-2E4C73E826A9}"/>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t="4330" b="4330"/>
          <a:stretch>
            <a:fillRect/>
          </a:stretch>
        </p:blipFill>
        <p:spPr>
          <a:xfrm flipH="1">
            <a:off x="4279204" y="2097094"/>
            <a:ext cx="2458924" cy="1263418"/>
          </a:xfrm>
        </p:spPr>
      </p:pic>
      <p:sp>
        <p:nvSpPr>
          <p:cNvPr id="2" name="Title 1">
            <a:extLst>
              <a:ext uri="{FF2B5EF4-FFF2-40B4-BE49-F238E27FC236}">
                <a16:creationId xmlns:a16="http://schemas.microsoft.com/office/drawing/2014/main" id="{2323A0DA-A9B6-4355-8D8C-367378429543}"/>
              </a:ext>
            </a:extLst>
          </p:cNvPr>
          <p:cNvSpPr>
            <a:spLocks noGrp="1"/>
          </p:cNvSpPr>
          <p:nvPr>
            <p:ph type="title"/>
          </p:nvPr>
        </p:nvSpPr>
        <p:spPr>
          <a:xfrm>
            <a:off x="4871369" y="2357755"/>
            <a:ext cx="1752080" cy="378042"/>
          </a:xfrm>
        </p:spPr>
        <p:txBody>
          <a:bodyPr/>
          <a:lstStyle/>
          <a:p>
            <a:r>
              <a:rPr lang="en-AU" dirty="0"/>
              <a:t>Company Profile	</a:t>
            </a:r>
          </a:p>
        </p:txBody>
      </p:sp>
      <p:sp>
        <p:nvSpPr>
          <p:cNvPr id="5" name="Text Placeholder 4">
            <a:extLst>
              <a:ext uri="{FF2B5EF4-FFF2-40B4-BE49-F238E27FC236}">
                <a16:creationId xmlns:a16="http://schemas.microsoft.com/office/drawing/2014/main" id="{B6DB8E33-30A3-480D-8C0F-7C0A71003432}"/>
              </a:ext>
            </a:extLst>
          </p:cNvPr>
          <p:cNvSpPr>
            <a:spLocks noGrp="1"/>
          </p:cNvSpPr>
          <p:nvPr>
            <p:ph type="body" sz="quarter" idx="12"/>
          </p:nvPr>
        </p:nvSpPr>
        <p:spPr>
          <a:xfrm>
            <a:off x="5177509" y="2639467"/>
            <a:ext cx="1408050" cy="461237"/>
          </a:xfrm>
        </p:spPr>
        <p:txBody>
          <a:bodyPr/>
          <a:lstStyle/>
          <a:p>
            <a:r>
              <a:rPr lang="en-AU" sz="900" dirty="0"/>
              <a:t>We believe our repeat clients are evidence of our commitment to excellence</a:t>
            </a:r>
            <a:r>
              <a:rPr lang="en-AU" dirty="0"/>
              <a:t>	</a:t>
            </a:r>
          </a:p>
        </p:txBody>
      </p:sp>
      <p:sp>
        <p:nvSpPr>
          <p:cNvPr id="26" name="Slide Number Placeholder 5"/>
          <p:cNvSpPr>
            <a:spLocks noGrp="1"/>
          </p:cNvSpPr>
          <p:nvPr>
            <p:ph type="sldNum" sz="quarter" idx="4294967295"/>
          </p:nvPr>
        </p:nvSpPr>
        <p:spPr>
          <a:xfrm>
            <a:off x="7224713" y="6863955"/>
            <a:ext cx="1133475" cy="146447"/>
          </a:xfrm>
          <a:prstGeom prst="rect">
            <a:avLst/>
          </a:prstGeom>
        </p:spPr>
        <p:txBody>
          <a:bodyPr/>
          <a:lstStyle/>
          <a:p>
            <a:r>
              <a:rPr lang="en-AU" dirty="0">
                <a:solidFill>
                  <a:prstClr val="white">
                    <a:lumMod val="50000"/>
                  </a:prstClr>
                </a:solidFill>
              </a:rPr>
              <a:t> Offshore Mining &amp; Civil  / </a:t>
            </a:r>
            <a:fld id="{CFD780AD-5876-4BCA-80DC-E96648A7269F}" type="slidenum">
              <a:rPr lang="en-AU">
                <a:solidFill>
                  <a:prstClr val="white">
                    <a:lumMod val="50000"/>
                  </a:prstClr>
                </a:solidFill>
              </a:rPr>
              <a:pPr/>
              <a:t>2</a:t>
            </a:fld>
            <a:endParaRPr lang="en-AU" dirty="0">
              <a:solidFill>
                <a:prstClr val="white">
                  <a:lumMod val="50000"/>
                </a:prstClr>
              </a:solidFill>
            </a:endParaRPr>
          </a:p>
        </p:txBody>
      </p:sp>
      <p:sp>
        <p:nvSpPr>
          <p:cNvPr id="8" name="TextBox 7">
            <a:extLst>
              <a:ext uri="{FF2B5EF4-FFF2-40B4-BE49-F238E27FC236}">
                <a16:creationId xmlns:a16="http://schemas.microsoft.com/office/drawing/2014/main" id="{AE5DD0CF-032E-4F73-BD67-472D9ECBD14E}"/>
              </a:ext>
            </a:extLst>
          </p:cNvPr>
          <p:cNvSpPr txBox="1"/>
          <p:nvPr/>
        </p:nvSpPr>
        <p:spPr>
          <a:xfrm>
            <a:off x="283026" y="3444987"/>
            <a:ext cx="4809995" cy="2516073"/>
          </a:xfrm>
          <a:prstGeom prst="rect">
            <a:avLst/>
          </a:prstGeom>
          <a:noFill/>
        </p:spPr>
        <p:txBody>
          <a:bodyPr wrap="square" rtlCol="0">
            <a:spAutoFit/>
          </a:bodyPr>
          <a:lstStyle/>
          <a:p>
            <a:r>
              <a:rPr lang="en-AU" sz="1050" dirty="0"/>
              <a:t>Offshore Mining and Civil Pty Ltd (OMC) have a fully mobile workforce as well as an extensive schedule of plant and equipment to support any project. </a:t>
            </a:r>
          </a:p>
          <a:p>
            <a:endParaRPr lang="en-AU" sz="1050" dirty="0"/>
          </a:p>
          <a:p>
            <a:r>
              <a:rPr lang="en-AU" sz="1050" dirty="0"/>
              <a:t>We are a family owned WA business backed by a loyal team of motivated and skilled individuals who are always available to meet your needs. </a:t>
            </a:r>
          </a:p>
          <a:p>
            <a:endParaRPr lang="en-AU" sz="1050" dirty="0"/>
          </a:p>
          <a:p>
            <a:r>
              <a:rPr lang="en-AU" sz="1050" dirty="0"/>
              <a:t>We understand downtime can be costly to companies which is why OMC is committed to providing cost effective and efficient solutions for your business. Project objectives are always met with outstanding client service and field excellence.</a:t>
            </a:r>
          </a:p>
          <a:p>
            <a:endParaRPr lang="en-AU" sz="1050" dirty="0"/>
          </a:p>
          <a:p>
            <a:r>
              <a:rPr lang="en-AU" sz="1050" dirty="0"/>
              <a:t>Since our inception in 2011 clients who engage OMC have become confident that they will receive professional, proficient and qualified people and plant on their jobs. </a:t>
            </a:r>
          </a:p>
          <a:p>
            <a:endParaRPr lang="en-AU" sz="1050" dirty="0"/>
          </a:p>
        </p:txBody>
      </p:sp>
      <p:sp>
        <p:nvSpPr>
          <p:cNvPr id="13" name="TextBox 12">
            <a:extLst>
              <a:ext uri="{FF2B5EF4-FFF2-40B4-BE49-F238E27FC236}">
                <a16:creationId xmlns:a16="http://schemas.microsoft.com/office/drawing/2014/main" id="{12A4F431-423A-4B5D-8E69-C0F497D77B27}"/>
              </a:ext>
            </a:extLst>
          </p:cNvPr>
          <p:cNvSpPr txBox="1"/>
          <p:nvPr/>
        </p:nvSpPr>
        <p:spPr>
          <a:xfrm>
            <a:off x="1169618" y="6022451"/>
            <a:ext cx="4438911" cy="577081"/>
          </a:xfrm>
          <a:prstGeom prst="rect">
            <a:avLst/>
          </a:prstGeom>
          <a:noFill/>
        </p:spPr>
        <p:txBody>
          <a:bodyPr wrap="square" rtlCol="0">
            <a:spAutoFit/>
          </a:bodyPr>
          <a:lstStyle/>
          <a:p>
            <a:pPr algn="ctr"/>
            <a:r>
              <a:rPr lang="en-AU" sz="1050" b="1" dirty="0"/>
              <a:t>Some past and present clients include Rio Tinto, Emeco, Atlas Iron, Austral Construction Pty Ltd, BIS Industries, Hamptons Mining, Carey Mining, MACA Mining &amp; MACA Civil</a:t>
            </a:r>
          </a:p>
        </p:txBody>
      </p:sp>
    </p:spTree>
    <p:extLst>
      <p:ext uri="{BB962C8B-B14F-4D97-AF65-F5344CB8AC3E}">
        <p14:creationId xmlns:p14="http://schemas.microsoft.com/office/powerpoint/2010/main" val="734017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29786E-20EE-7E3D-D756-E4D10C5DBD4A}"/>
              </a:ext>
            </a:extLst>
          </p:cNvPr>
          <p:cNvSpPr>
            <a:spLocks noGrp="1"/>
          </p:cNvSpPr>
          <p:nvPr>
            <p:ph type="title"/>
          </p:nvPr>
        </p:nvSpPr>
        <p:spPr/>
        <p:txBody>
          <a:bodyPr/>
          <a:lstStyle/>
          <a:p>
            <a:pPr algn="ctr"/>
            <a:r>
              <a:rPr lang="en-AU" dirty="0"/>
              <a:t>OMC Labour Support &amp; Rapid Response	</a:t>
            </a:r>
          </a:p>
        </p:txBody>
      </p:sp>
      <p:sp>
        <p:nvSpPr>
          <p:cNvPr id="3" name="Content Placeholder 2">
            <a:extLst>
              <a:ext uri="{FF2B5EF4-FFF2-40B4-BE49-F238E27FC236}">
                <a16:creationId xmlns:a16="http://schemas.microsoft.com/office/drawing/2014/main" id="{29DCBB8E-1DB1-AA23-E8DB-6126000FD71A}"/>
              </a:ext>
            </a:extLst>
          </p:cNvPr>
          <p:cNvSpPr>
            <a:spLocks noGrp="1"/>
          </p:cNvSpPr>
          <p:nvPr>
            <p:ph sz="quarter" idx="10"/>
          </p:nvPr>
        </p:nvSpPr>
        <p:spPr/>
        <p:txBody>
          <a:bodyPr/>
          <a:lstStyle/>
          <a:p>
            <a:pPr lvl="0" algn="ctr">
              <a:buNone/>
            </a:pPr>
            <a:r>
              <a:rPr lang="en-AU" sz="1600" dirty="0"/>
              <a:t>OMC is available for rapid response, onsite support and maintenance 24/7 to keep your business and equipment powering. We offer full mechanical repairs, component rebuilds and exchanges, digger support and mining vehicle specification fit outs. OMC can source cost effective parts quality parts and OEM standards. </a:t>
            </a:r>
          </a:p>
          <a:p>
            <a:pPr lvl="0" algn="l"/>
            <a:endParaRPr lang="en-AU" sz="1600" dirty="0"/>
          </a:p>
          <a:p>
            <a:pPr lvl="0" algn="ctr">
              <a:buFontTx/>
              <a:buNone/>
            </a:pPr>
            <a:r>
              <a:rPr lang="en-AU" sz="1600" dirty="0"/>
              <a:t>Our dedicated team will ensure all projects are completed within specified timeframes ensuring the highest level of workmanship and safety is maintained</a:t>
            </a:r>
          </a:p>
          <a:p>
            <a:endParaRPr lang="en-AU" dirty="0"/>
          </a:p>
        </p:txBody>
      </p:sp>
      <p:sp>
        <p:nvSpPr>
          <p:cNvPr id="4" name="Slide Number Placeholder 3">
            <a:extLst>
              <a:ext uri="{FF2B5EF4-FFF2-40B4-BE49-F238E27FC236}">
                <a16:creationId xmlns:a16="http://schemas.microsoft.com/office/drawing/2014/main" id="{3F1D4FF4-4B0F-8B7B-B224-C108BC8FC40C}"/>
              </a:ext>
            </a:extLst>
          </p:cNvPr>
          <p:cNvSpPr>
            <a:spLocks noGrp="1"/>
          </p:cNvSpPr>
          <p:nvPr>
            <p:ph type="sldNum" sz="quarter" idx="11"/>
          </p:nvPr>
        </p:nvSpPr>
        <p:spPr/>
        <p:txBody>
          <a:bodyPr/>
          <a:lstStyle/>
          <a:p>
            <a:r>
              <a:rPr lang="en-AU"/>
              <a:t> Offshore Mining and Civil  / </a:t>
            </a:r>
            <a:fld id="{CFD780AD-5876-4BCA-80DC-E96648A7269F}" type="slidenum">
              <a:rPr lang="en-AU" smtClean="0"/>
              <a:pPr/>
              <a:t>3</a:t>
            </a:fld>
            <a:endParaRPr lang="en-AU" dirty="0"/>
          </a:p>
        </p:txBody>
      </p:sp>
      <p:pic>
        <p:nvPicPr>
          <p:cNvPr id="6" name="Picture 5" descr="A picture containing sky, truck, outdoor, transport&#10;&#10;Description automatically generated">
            <a:extLst>
              <a:ext uri="{FF2B5EF4-FFF2-40B4-BE49-F238E27FC236}">
                <a16:creationId xmlns:a16="http://schemas.microsoft.com/office/drawing/2014/main" id="{E00E2F72-2ED0-D670-BB68-228DF2443C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4553" y="5011079"/>
            <a:ext cx="2864005" cy="2148004"/>
          </a:xfrm>
          <a:prstGeom prst="rect">
            <a:avLst/>
          </a:prstGeom>
        </p:spPr>
      </p:pic>
      <p:pic>
        <p:nvPicPr>
          <p:cNvPr id="7" name="Picture 6" descr="A picture containing outdoor, sky, ground, truck&#10;&#10;Description automatically generated">
            <a:extLst>
              <a:ext uri="{FF2B5EF4-FFF2-40B4-BE49-F238E27FC236}">
                <a16:creationId xmlns:a16="http://schemas.microsoft.com/office/drawing/2014/main" id="{B83E9A22-ADB3-4B56-EDAD-663A761581E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9000" y="5016834"/>
            <a:ext cx="3141509" cy="2359740"/>
          </a:xfrm>
          <a:prstGeom prst="rect">
            <a:avLst/>
          </a:prstGeom>
        </p:spPr>
      </p:pic>
      <p:pic>
        <p:nvPicPr>
          <p:cNvPr id="8" name="Picture 7" descr="A picture containing outdoor, mountain, ground, sky&#10;&#10;Description automatically generated">
            <a:extLst>
              <a:ext uri="{FF2B5EF4-FFF2-40B4-BE49-F238E27FC236}">
                <a16:creationId xmlns:a16="http://schemas.microsoft.com/office/drawing/2014/main" id="{E05022C9-7021-F286-970F-AD30A897488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1439" y="6891097"/>
            <a:ext cx="2864005" cy="2148004"/>
          </a:xfrm>
          <a:prstGeom prst="rect">
            <a:avLst/>
          </a:prstGeom>
        </p:spPr>
      </p:pic>
    </p:spTree>
    <p:extLst>
      <p:ext uri="{BB962C8B-B14F-4D97-AF65-F5344CB8AC3E}">
        <p14:creationId xmlns:p14="http://schemas.microsoft.com/office/powerpoint/2010/main" val="70934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517A0-04C8-DB1F-B496-AC76249AAA7D}"/>
              </a:ext>
            </a:extLst>
          </p:cNvPr>
          <p:cNvSpPr>
            <a:spLocks noGrp="1"/>
          </p:cNvSpPr>
          <p:nvPr>
            <p:ph type="title"/>
          </p:nvPr>
        </p:nvSpPr>
        <p:spPr/>
        <p:txBody>
          <a:bodyPr/>
          <a:lstStyle/>
          <a:p>
            <a:r>
              <a:rPr lang="en-AU" dirty="0"/>
              <a:t>Labour Support Projects	</a:t>
            </a:r>
          </a:p>
        </p:txBody>
      </p:sp>
      <p:pic>
        <p:nvPicPr>
          <p:cNvPr id="7" name="Picture Placeholder 6" descr="A picture containing car, truck, outdoor, parked&#10;&#10;Description automatically generated">
            <a:extLst>
              <a:ext uri="{FF2B5EF4-FFF2-40B4-BE49-F238E27FC236}">
                <a16:creationId xmlns:a16="http://schemas.microsoft.com/office/drawing/2014/main" id="{0BED3821-8215-4FDB-3855-011B8F254ABF}"/>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4236" r="4236"/>
          <a:stretch>
            <a:fillRect/>
          </a:stretch>
        </p:blipFill>
        <p:spPr>
          <a:xfrm>
            <a:off x="5452965" y="1791597"/>
            <a:ext cx="1240970" cy="1808535"/>
          </a:xfrm>
        </p:spPr>
      </p:pic>
      <p:sp>
        <p:nvSpPr>
          <p:cNvPr id="4" name="Text Placeholder 3">
            <a:extLst>
              <a:ext uri="{FF2B5EF4-FFF2-40B4-BE49-F238E27FC236}">
                <a16:creationId xmlns:a16="http://schemas.microsoft.com/office/drawing/2014/main" id="{9584F268-7BDC-326C-2698-9A33C917590F}"/>
              </a:ext>
            </a:extLst>
          </p:cNvPr>
          <p:cNvSpPr>
            <a:spLocks noGrp="1"/>
          </p:cNvSpPr>
          <p:nvPr>
            <p:ph type="body" sz="quarter" idx="15"/>
          </p:nvPr>
        </p:nvSpPr>
        <p:spPr/>
        <p:txBody>
          <a:bodyPr/>
          <a:lstStyle/>
          <a:p>
            <a:endParaRPr lang="en-AU" i="1" dirty="0"/>
          </a:p>
        </p:txBody>
      </p:sp>
      <p:sp>
        <p:nvSpPr>
          <p:cNvPr id="5" name="Slide Number Placeholder 4">
            <a:extLst>
              <a:ext uri="{FF2B5EF4-FFF2-40B4-BE49-F238E27FC236}">
                <a16:creationId xmlns:a16="http://schemas.microsoft.com/office/drawing/2014/main" id="{7B328563-11A7-5DA1-0AD1-2A2718B40BBD}"/>
              </a:ext>
            </a:extLst>
          </p:cNvPr>
          <p:cNvSpPr>
            <a:spLocks noGrp="1"/>
          </p:cNvSpPr>
          <p:nvPr>
            <p:ph type="sldNum" sz="quarter" idx="16"/>
          </p:nvPr>
        </p:nvSpPr>
        <p:spPr/>
        <p:txBody>
          <a:bodyPr/>
          <a:lstStyle/>
          <a:p>
            <a:r>
              <a:rPr lang="en-AU"/>
              <a:t> Offshore Mining and Civil  / </a:t>
            </a:r>
            <a:fld id="{CFD780AD-5876-4BCA-80DC-E96648A7269F}" type="slidenum">
              <a:rPr lang="en-AU" smtClean="0"/>
              <a:pPr/>
              <a:t>4</a:t>
            </a:fld>
            <a:endParaRPr lang="en-AU" dirty="0"/>
          </a:p>
        </p:txBody>
      </p:sp>
      <p:pic>
        <p:nvPicPr>
          <p:cNvPr id="9" name="Picture 8" descr="A picture containing sky, outdoor, parked, cloudy&#10;&#10;Description automatically generated">
            <a:extLst>
              <a:ext uri="{FF2B5EF4-FFF2-40B4-BE49-F238E27FC236}">
                <a16:creationId xmlns:a16="http://schemas.microsoft.com/office/drawing/2014/main" id="{699E1DE2-9B3D-E30D-FE30-B182AFA11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0814" y="5543869"/>
            <a:ext cx="1572217" cy="1179163"/>
          </a:xfrm>
          <a:prstGeom prst="rect">
            <a:avLst/>
          </a:prstGeom>
        </p:spPr>
      </p:pic>
      <p:pic>
        <p:nvPicPr>
          <p:cNvPr id="15" name="Picture 14" descr="A picture containing outdoor, mountain, weapon&#10;&#10;Description automatically generated">
            <a:extLst>
              <a:ext uri="{FF2B5EF4-FFF2-40B4-BE49-F238E27FC236}">
                <a16:creationId xmlns:a16="http://schemas.microsoft.com/office/drawing/2014/main" id="{9214486B-B2EF-6ECF-E0C5-953A926034D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18347" y="242895"/>
            <a:ext cx="1630476" cy="1222857"/>
          </a:xfrm>
          <a:prstGeom prst="rect">
            <a:avLst/>
          </a:prstGeom>
        </p:spPr>
      </p:pic>
      <p:pic>
        <p:nvPicPr>
          <p:cNvPr id="6" name="Picture 5">
            <a:extLst>
              <a:ext uri="{FF2B5EF4-FFF2-40B4-BE49-F238E27FC236}">
                <a16:creationId xmlns:a16="http://schemas.microsoft.com/office/drawing/2014/main" id="{EE563AF9-90F5-A1A9-C94C-A5FA50F2015E}"/>
              </a:ext>
            </a:extLst>
          </p:cNvPr>
          <p:cNvPicPr>
            <a:picLocks noChangeAspect="1"/>
          </p:cNvPicPr>
          <p:nvPr/>
        </p:nvPicPr>
        <p:blipFill>
          <a:blip r:embed="rId5"/>
          <a:stretch>
            <a:fillRect/>
          </a:stretch>
        </p:blipFill>
        <p:spPr>
          <a:xfrm>
            <a:off x="242645" y="1791597"/>
            <a:ext cx="5721096" cy="6871716"/>
          </a:xfrm>
          <a:prstGeom prst="rect">
            <a:avLst/>
          </a:prstGeom>
        </p:spPr>
      </p:pic>
    </p:spTree>
    <p:extLst>
      <p:ext uri="{BB962C8B-B14F-4D97-AF65-F5344CB8AC3E}">
        <p14:creationId xmlns:p14="http://schemas.microsoft.com/office/powerpoint/2010/main" val="339716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95908-6C5F-92AB-BAEF-0AEC5A44789C}"/>
              </a:ext>
            </a:extLst>
          </p:cNvPr>
          <p:cNvSpPr>
            <a:spLocks noGrp="1"/>
          </p:cNvSpPr>
          <p:nvPr>
            <p:ph type="title"/>
          </p:nvPr>
        </p:nvSpPr>
        <p:spPr/>
        <p:txBody>
          <a:bodyPr/>
          <a:lstStyle/>
          <a:p>
            <a:pPr algn="ctr"/>
            <a:r>
              <a:rPr lang="en-AU" dirty="0" err="1"/>
              <a:t>Railforce</a:t>
            </a:r>
            <a:r>
              <a:rPr lang="en-AU" dirty="0"/>
              <a:t> Resources</a:t>
            </a:r>
          </a:p>
        </p:txBody>
      </p:sp>
      <p:sp>
        <p:nvSpPr>
          <p:cNvPr id="4" name="Slide Number Placeholder 3">
            <a:extLst>
              <a:ext uri="{FF2B5EF4-FFF2-40B4-BE49-F238E27FC236}">
                <a16:creationId xmlns:a16="http://schemas.microsoft.com/office/drawing/2014/main" id="{9726E0C5-FBC6-FE25-64B4-5B251F2FC1A7}"/>
              </a:ext>
            </a:extLst>
          </p:cNvPr>
          <p:cNvSpPr>
            <a:spLocks noGrp="1"/>
          </p:cNvSpPr>
          <p:nvPr>
            <p:ph type="sldNum" sz="quarter" idx="11"/>
          </p:nvPr>
        </p:nvSpPr>
        <p:spPr/>
        <p:txBody>
          <a:bodyPr/>
          <a:lstStyle/>
          <a:p>
            <a:r>
              <a:rPr lang="en-AU"/>
              <a:t> Offshore Mining and Civil  / </a:t>
            </a:r>
            <a:fld id="{CFD780AD-5876-4BCA-80DC-E96648A7269F}" type="slidenum">
              <a:rPr lang="en-AU" smtClean="0"/>
              <a:pPr/>
              <a:t>5</a:t>
            </a:fld>
            <a:endParaRPr lang="en-AU" dirty="0"/>
          </a:p>
        </p:txBody>
      </p:sp>
      <p:sp>
        <p:nvSpPr>
          <p:cNvPr id="6" name="TextBox 5">
            <a:extLst>
              <a:ext uri="{FF2B5EF4-FFF2-40B4-BE49-F238E27FC236}">
                <a16:creationId xmlns:a16="http://schemas.microsoft.com/office/drawing/2014/main" id="{217DD6EA-6BC9-9F1D-8718-CC593979E42A}"/>
              </a:ext>
            </a:extLst>
          </p:cNvPr>
          <p:cNvSpPr txBox="1"/>
          <p:nvPr/>
        </p:nvSpPr>
        <p:spPr>
          <a:xfrm>
            <a:off x="1707443" y="2448342"/>
            <a:ext cx="3455571" cy="4376204"/>
          </a:xfrm>
          <a:prstGeom prst="rect">
            <a:avLst/>
          </a:prstGeom>
          <a:noFill/>
        </p:spPr>
        <p:txBody>
          <a:bodyPr wrap="square">
            <a:spAutoFit/>
          </a:bodyPr>
          <a:lstStyle/>
          <a:p>
            <a:pPr lvl="0" algn="ctr">
              <a:buFontTx/>
              <a:buNone/>
            </a:pPr>
            <a:r>
              <a:rPr lang="en-AU" sz="1800" dirty="0" err="1"/>
              <a:t>Railforce</a:t>
            </a:r>
            <a:r>
              <a:rPr lang="en-AU" sz="1800" dirty="0"/>
              <a:t> Resources Pty Ltd (</a:t>
            </a:r>
            <a:r>
              <a:rPr lang="en-AU" sz="1400" dirty="0"/>
              <a:t>formerly </a:t>
            </a:r>
            <a:r>
              <a:rPr lang="en-AU" sz="1400" dirty="0" err="1"/>
              <a:t>Owenie</a:t>
            </a:r>
            <a:r>
              <a:rPr lang="en-AU" sz="1400" dirty="0"/>
              <a:t> Resources</a:t>
            </a:r>
            <a:r>
              <a:rPr lang="en-AU" sz="1800" dirty="0"/>
              <a:t>) forms part of the OMC Group specialising in rapid 24/7 response, onsite support and rail maintenance. With a team of skilled tradesmen </a:t>
            </a:r>
            <a:r>
              <a:rPr lang="en-AU" sz="1800" dirty="0" err="1"/>
              <a:t>Railforce</a:t>
            </a:r>
            <a:r>
              <a:rPr lang="en-AU" sz="1800" dirty="0"/>
              <a:t> Resources is dedicated to delivering high quality track maintenance support with a focus on safety and innovation. </a:t>
            </a:r>
          </a:p>
          <a:p>
            <a:pPr lvl="0" algn="ctr">
              <a:buFontTx/>
              <a:buNone/>
            </a:pPr>
            <a:endParaRPr lang="en-AU" sz="1800" dirty="0"/>
          </a:p>
          <a:p>
            <a:pPr lvl="0"/>
            <a:r>
              <a:rPr lang="en-AU" sz="1800" dirty="0"/>
              <a:t>We have the quality equipment and experienced operators to deliver </a:t>
            </a:r>
            <a:endParaRPr lang="en-AU" dirty="0"/>
          </a:p>
        </p:txBody>
      </p:sp>
      <p:pic>
        <p:nvPicPr>
          <p:cNvPr id="5" name="Content Placeholder 5" descr="A picture containing truck, sky, outdoor, ground&#10;&#10;Description automatically generated">
            <a:extLst>
              <a:ext uri="{FF2B5EF4-FFF2-40B4-BE49-F238E27FC236}">
                <a16:creationId xmlns:a16="http://schemas.microsoft.com/office/drawing/2014/main" id="{07605B5A-4AA9-6C95-805A-DA4C5E5C16A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0075" y="779325"/>
            <a:ext cx="1923278" cy="1442458"/>
          </a:xfrm>
          <a:prstGeom prst="rect">
            <a:avLst/>
          </a:prstGeom>
        </p:spPr>
      </p:pic>
      <p:pic>
        <p:nvPicPr>
          <p:cNvPr id="7" name="Picture 6" descr="A group of men in yellow vests working on railroad tracks&#10;&#10;Description automatically generated with low confidence">
            <a:extLst>
              <a:ext uri="{FF2B5EF4-FFF2-40B4-BE49-F238E27FC236}">
                <a16:creationId xmlns:a16="http://schemas.microsoft.com/office/drawing/2014/main" id="{BC5196AD-FFC3-7A4F-BE40-8E73CEDFB6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1589" y="1107374"/>
            <a:ext cx="2456411" cy="1637607"/>
          </a:xfrm>
          <a:prstGeom prst="rect">
            <a:avLst/>
          </a:prstGeom>
        </p:spPr>
      </p:pic>
      <p:pic>
        <p:nvPicPr>
          <p:cNvPr id="8" name="Content Placeholder 7" descr="A picture containing outdoor, sky, mountain, train&#10;&#10;Description automatically generated">
            <a:extLst>
              <a:ext uri="{FF2B5EF4-FFF2-40B4-BE49-F238E27FC236}">
                <a16:creationId xmlns:a16="http://schemas.microsoft.com/office/drawing/2014/main" id="{51137CB5-E6F3-1AD7-2ED8-BD1185478311}"/>
              </a:ext>
            </a:extLst>
          </p:cNvPr>
          <p:cNvPicPr>
            <a:picLocks noGrp="1" noChangeAspect="1"/>
          </p:cNvPicPr>
          <p:nvPr>
            <p:ph sz="quarter" idx="10"/>
          </p:nvPr>
        </p:nvPicPr>
        <p:blipFill>
          <a:blip r:embed="rId4">
            <a:extLst>
              <a:ext uri="{28A0092B-C50C-407E-A947-70E740481C1C}">
                <a14:useLocalDpi xmlns:a14="http://schemas.microsoft.com/office/drawing/2010/main" val="0"/>
              </a:ext>
            </a:extLst>
          </a:blip>
          <a:stretch>
            <a:fillRect/>
          </a:stretch>
        </p:blipFill>
        <p:spPr>
          <a:xfrm>
            <a:off x="734294" y="6922218"/>
            <a:ext cx="2431473" cy="1620982"/>
          </a:xfrm>
          <a:prstGeom prst="rect">
            <a:avLst/>
          </a:prstGeom>
        </p:spPr>
      </p:pic>
      <p:pic>
        <p:nvPicPr>
          <p:cNvPr id="9" name="Content Placeholder 6" descr="A group of people working on a railroad track&#10;&#10;Description automatically generated with low confidence">
            <a:extLst>
              <a:ext uri="{FF2B5EF4-FFF2-40B4-BE49-F238E27FC236}">
                <a16:creationId xmlns:a16="http://schemas.microsoft.com/office/drawing/2014/main" id="{863C5064-7D7A-432B-CC08-CC42C5CB86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39973" y="6922218"/>
            <a:ext cx="2431473" cy="1620982"/>
          </a:xfrm>
          <a:prstGeom prst="rect">
            <a:avLst/>
          </a:prstGeom>
        </p:spPr>
      </p:pic>
      <p:pic>
        <p:nvPicPr>
          <p:cNvPr id="11" name="Picture 10" descr="A picture containing sky, outdoor, truck, road&#10;&#10;Description automatically generated">
            <a:extLst>
              <a:ext uri="{FF2B5EF4-FFF2-40B4-BE49-F238E27FC236}">
                <a16:creationId xmlns:a16="http://schemas.microsoft.com/office/drawing/2014/main" id="{6EB88915-BFA3-7493-0A61-B7CF5B822A0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68883" y="4120924"/>
            <a:ext cx="1646471" cy="1369387"/>
          </a:xfrm>
          <a:prstGeom prst="rect">
            <a:avLst/>
          </a:prstGeom>
        </p:spPr>
      </p:pic>
    </p:spTree>
    <p:extLst>
      <p:ext uri="{BB962C8B-B14F-4D97-AF65-F5344CB8AC3E}">
        <p14:creationId xmlns:p14="http://schemas.microsoft.com/office/powerpoint/2010/main" val="2311517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sky, outdoor, truck, transport&#10;&#10;Description automatically generated">
            <a:extLst>
              <a:ext uri="{FF2B5EF4-FFF2-40B4-BE49-F238E27FC236}">
                <a16:creationId xmlns:a16="http://schemas.microsoft.com/office/drawing/2014/main" id="{6661ABFB-182B-B2E3-A54B-E6DD77DA1A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0778" y="376942"/>
            <a:ext cx="2034576" cy="1525932"/>
          </a:xfrm>
          <a:prstGeom prst="rect">
            <a:avLst/>
          </a:prstGeom>
        </p:spPr>
      </p:pic>
      <p:sp>
        <p:nvSpPr>
          <p:cNvPr id="2" name="Title 1">
            <a:extLst>
              <a:ext uri="{FF2B5EF4-FFF2-40B4-BE49-F238E27FC236}">
                <a16:creationId xmlns:a16="http://schemas.microsoft.com/office/drawing/2014/main" id="{2DDA8CEB-2774-D3C6-4EFA-2EC7B0A5AE49}"/>
              </a:ext>
            </a:extLst>
          </p:cNvPr>
          <p:cNvSpPr>
            <a:spLocks noGrp="1"/>
          </p:cNvSpPr>
          <p:nvPr>
            <p:ph type="title"/>
          </p:nvPr>
        </p:nvSpPr>
        <p:spPr/>
        <p:txBody>
          <a:bodyPr/>
          <a:lstStyle/>
          <a:p>
            <a:pPr algn="ctr"/>
            <a:r>
              <a:rPr lang="en-AU" dirty="0"/>
              <a:t>Equipment Hire	</a:t>
            </a:r>
          </a:p>
        </p:txBody>
      </p:sp>
      <p:sp>
        <p:nvSpPr>
          <p:cNvPr id="4" name="Slide Number Placeholder 3">
            <a:extLst>
              <a:ext uri="{FF2B5EF4-FFF2-40B4-BE49-F238E27FC236}">
                <a16:creationId xmlns:a16="http://schemas.microsoft.com/office/drawing/2014/main" id="{2D507273-EA64-4ABF-DDEE-1F1EFCA437B7}"/>
              </a:ext>
            </a:extLst>
          </p:cNvPr>
          <p:cNvSpPr>
            <a:spLocks noGrp="1"/>
          </p:cNvSpPr>
          <p:nvPr>
            <p:ph type="sldNum" sz="quarter" idx="11"/>
          </p:nvPr>
        </p:nvSpPr>
        <p:spPr/>
        <p:txBody>
          <a:bodyPr/>
          <a:lstStyle/>
          <a:p>
            <a:r>
              <a:rPr lang="en-AU"/>
              <a:t> Offshore Mining and Civil  / </a:t>
            </a:r>
            <a:fld id="{CFD780AD-5876-4BCA-80DC-E96648A7269F}" type="slidenum">
              <a:rPr lang="en-AU" smtClean="0"/>
              <a:pPr/>
              <a:t>6</a:t>
            </a:fld>
            <a:endParaRPr lang="en-AU" dirty="0"/>
          </a:p>
        </p:txBody>
      </p:sp>
      <p:sp>
        <p:nvSpPr>
          <p:cNvPr id="6" name="TextBox 5">
            <a:extLst>
              <a:ext uri="{FF2B5EF4-FFF2-40B4-BE49-F238E27FC236}">
                <a16:creationId xmlns:a16="http://schemas.microsoft.com/office/drawing/2014/main" id="{8A5F35CA-B05C-F61E-58A5-22791D696058}"/>
              </a:ext>
            </a:extLst>
          </p:cNvPr>
          <p:cNvSpPr txBox="1"/>
          <p:nvPr/>
        </p:nvSpPr>
        <p:spPr>
          <a:xfrm>
            <a:off x="1707444" y="2171343"/>
            <a:ext cx="3437466" cy="4801314"/>
          </a:xfrm>
          <a:prstGeom prst="rect">
            <a:avLst/>
          </a:prstGeom>
          <a:noFill/>
        </p:spPr>
        <p:txBody>
          <a:bodyPr wrap="square">
            <a:spAutoFit/>
          </a:bodyPr>
          <a:lstStyle/>
          <a:p>
            <a:pPr lvl="0" algn="ctr">
              <a:buFontTx/>
              <a:buNone/>
            </a:pPr>
            <a:r>
              <a:rPr lang="en-AU" sz="1800" dirty="0"/>
              <a:t>JEM Hire has a comprehensive fleet ranging from small to medium civil and mining machinery.</a:t>
            </a:r>
          </a:p>
          <a:p>
            <a:pPr lvl="0" algn="ctr">
              <a:buFontTx/>
              <a:buNone/>
            </a:pPr>
            <a:endParaRPr lang="en-AU" sz="1800" dirty="0"/>
          </a:p>
          <a:p>
            <a:pPr lvl="0" algn="ctr">
              <a:buFontTx/>
              <a:buNone/>
            </a:pPr>
            <a:r>
              <a:rPr lang="en-AU" sz="1800" dirty="0"/>
              <a:t>With our alliance partner Toddy’s Plant Hire (BURU) we work together to procure new and low hour machines with OMC providing ongoing maintenance and support throughout WA. </a:t>
            </a:r>
          </a:p>
          <a:p>
            <a:pPr lvl="0" algn="ctr">
              <a:buFontTx/>
              <a:buNone/>
            </a:pPr>
            <a:endParaRPr lang="en-AU" sz="1800" dirty="0"/>
          </a:p>
          <a:p>
            <a:pPr lvl="0" algn="ctr"/>
            <a:r>
              <a:rPr lang="en-AU" sz="1800" dirty="0"/>
              <a:t>With a vast array of knowledge JEM Hire is available 24/7 to deliver your equipment requirements</a:t>
            </a:r>
            <a:endParaRPr lang="en-AU" dirty="0"/>
          </a:p>
        </p:txBody>
      </p:sp>
      <p:pic>
        <p:nvPicPr>
          <p:cNvPr id="5" name="Content Placeholder 4" descr="A picture containing truck, sky, transport, outdoor&#10;&#10;Description automatically generated">
            <a:extLst>
              <a:ext uri="{FF2B5EF4-FFF2-40B4-BE49-F238E27FC236}">
                <a16:creationId xmlns:a16="http://schemas.microsoft.com/office/drawing/2014/main" id="{676F27EB-7E3F-FDC1-84F0-78899BA18499}"/>
              </a:ext>
            </a:extLst>
          </p:cNvPr>
          <p:cNvPicPr>
            <a:picLocks noGrp="1" noChangeAspect="1"/>
          </p:cNvPicPr>
          <p:nvPr>
            <p:ph sz="quarter" idx="10"/>
          </p:nvPr>
        </p:nvPicPr>
        <p:blipFill>
          <a:blip r:embed="rId3" cstate="print">
            <a:extLst>
              <a:ext uri="{28A0092B-C50C-407E-A947-70E740481C1C}">
                <a14:useLocalDpi xmlns:a14="http://schemas.microsoft.com/office/drawing/2010/main" val="0"/>
              </a:ext>
            </a:extLst>
          </a:blip>
          <a:stretch>
            <a:fillRect/>
          </a:stretch>
        </p:blipFill>
        <p:spPr>
          <a:xfrm>
            <a:off x="87526" y="6871735"/>
            <a:ext cx="2840667" cy="2130931"/>
          </a:xfrm>
          <a:prstGeom prst="rect">
            <a:avLst/>
          </a:prstGeom>
        </p:spPr>
      </p:pic>
      <p:pic>
        <p:nvPicPr>
          <p:cNvPr id="10" name="Picture 9" descr="A picture containing truck, sky, outdoor, transport&#10;&#10;Description automatically generated">
            <a:extLst>
              <a:ext uri="{FF2B5EF4-FFF2-40B4-BE49-F238E27FC236}">
                <a16:creationId xmlns:a16="http://schemas.microsoft.com/office/drawing/2014/main" id="{27C7D759-4D80-462A-5A1D-01E1142D154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8942" y="6812358"/>
            <a:ext cx="2544993" cy="2089386"/>
          </a:xfrm>
          <a:prstGeom prst="rect">
            <a:avLst/>
          </a:prstGeom>
        </p:spPr>
      </p:pic>
      <p:pic>
        <p:nvPicPr>
          <p:cNvPr id="12" name="Picture 11" descr="A picture containing sky, truck, outdoor, road&#10;&#10;Description automatically generated">
            <a:extLst>
              <a:ext uri="{FF2B5EF4-FFF2-40B4-BE49-F238E27FC236}">
                <a16:creationId xmlns:a16="http://schemas.microsoft.com/office/drawing/2014/main" id="{CBC552D0-69F8-F8CF-7C59-48F1C8C286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8419" y="1139908"/>
            <a:ext cx="3001039" cy="1143055"/>
          </a:xfrm>
          <a:prstGeom prst="rect">
            <a:avLst/>
          </a:prstGeom>
        </p:spPr>
      </p:pic>
    </p:spTree>
    <p:extLst>
      <p:ext uri="{BB962C8B-B14F-4D97-AF65-F5344CB8AC3E}">
        <p14:creationId xmlns:p14="http://schemas.microsoft.com/office/powerpoint/2010/main" val="191090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2FF3E-6433-EA01-A5A5-B232F4787FB9}"/>
              </a:ext>
            </a:extLst>
          </p:cNvPr>
          <p:cNvSpPr>
            <a:spLocks noGrp="1"/>
          </p:cNvSpPr>
          <p:nvPr>
            <p:ph type="title"/>
          </p:nvPr>
        </p:nvSpPr>
        <p:spPr/>
        <p:txBody>
          <a:bodyPr/>
          <a:lstStyle/>
          <a:p>
            <a:r>
              <a:rPr lang="en-AU" dirty="0"/>
              <a:t>Fleet	</a:t>
            </a:r>
          </a:p>
        </p:txBody>
      </p:sp>
      <p:sp>
        <p:nvSpPr>
          <p:cNvPr id="3" name="Content Placeholder 2">
            <a:extLst>
              <a:ext uri="{FF2B5EF4-FFF2-40B4-BE49-F238E27FC236}">
                <a16:creationId xmlns:a16="http://schemas.microsoft.com/office/drawing/2014/main" id="{70332C2A-FC0D-793C-02BA-C9208C566AAC}"/>
              </a:ext>
            </a:extLst>
          </p:cNvPr>
          <p:cNvSpPr>
            <a:spLocks noGrp="1"/>
          </p:cNvSpPr>
          <p:nvPr>
            <p:ph sz="quarter" idx="10"/>
          </p:nvPr>
        </p:nvSpPr>
        <p:spPr/>
        <p:txBody>
          <a:bodyPr/>
          <a:lstStyle/>
          <a:p>
            <a:r>
              <a:rPr lang="en-AU" b="1" dirty="0"/>
              <a:t>Earthmoving Equipment</a:t>
            </a:r>
          </a:p>
          <a:p>
            <a:r>
              <a:rPr lang="en-AU" dirty="0"/>
              <a:t>Graders</a:t>
            </a:r>
          </a:p>
          <a:p>
            <a:r>
              <a:rPr lang="en-AU" dirty="0"/>
              <a:t>12M – 16M</a:t>
            </a:r>
          </a:p>
          <a:p>
            <a:r>
              <a:rPr lang="en-AU" dirty="0"/>
              <a:t>Excavator</a:t>
            </a:r>
          </a:p>
          <a:p>
            <a:r>
              <a:rPr lang="en-AU" dirty="0"/>
              <a:t>5T – 90T</a:t>
            </a:r>
          </a:p>
          <a:p>
            <a:r>
              <a:rPr lang="en-AU" dirty="0"/>
              <a:t>Dozers</a:t>
            </a:r>
          </a:p>
          <a:p>
            <a:r>
              <a:rPr lang="en-AU" dirty="0"/>
              <a:t>D5 – D10T2</a:t>
            </a:r>
          </a:p>
          <a:p>
            <a:r>
              <a:rPr lang="en-AU" dirty="0"/>
              <a:t>Loaders</a:t>
            </a:r>
          </a:p>
          <a:p>
            <a:r>
              <a:rPr lang="en-AU" dirty="0"/>
              <a:t>938M – 988K</a:t>
            </a:r>
          </a:p>
          <a:p>
            <a:r>
              <a:rPr lang="en-AU" dirty="0"/>
              <a:t>Dump Trucks</a:t>
            </a:r>
          </a:p>
          <a:p>
            <a:r>
              <a:rPr lang="en-AU" dirty="0"/>
              <a:t>40T – 45T</a:t>
            </a:r>
          </a:p>
          <a:p>
            <a:r>
              <a:rPr lang="en-AU" dirty="0"/>
              <a:t>Water Carts</a:t>
            </a:r>
          </a:p>
          <a:p>
            <a:r>
              <a:rPr lang="en-AU" dirty="0"/>
              <a:t>6 x 4 – 40T Artic</a:t>
            </a:r>
          </a:p>
          <a:p>
            <a:r>
              <a:rPr lang="en-AU" dirty="0"/>
              <a:t>Service Trucks</a:t>
            </a:r>
          </a:p>
          <a:p>
            <a:r>
              <a:rPr lang="en-AU" dirty="0"/>
              <a:t>6 x 4 – 8 x 4</a:t>
            </a:r>
          </a:p>
          <a:p>
            <a:r>
              <a:rPr lang="en-AU" b="1" dirty="0"/>
              <a:t>Support Equipment</a:t>
            </a:r>
          </a:p>
          <a:p>
            <a:r>
              <a:rPr lang="en-AU" dirty="0"/>
              <a:t>Prime Movers, Floats, </a:t>
            </a:r>
            <a:r>
              <a:rPr lang="en-AU" dirty="0" err="1"/>
              <a:t>Dropdeck</a:t>
            </a:r>
            <a:r>
              <a:rPr lang="en-AU" dirty="0"/>
              <a:t> trailers, Flat top Trailers, Tipper Trucks,</a:t>
            </a:r>
          </a:p>
          <a:p>
            <a:r>
              <a:rPr lang="en-AU" dirty="0"/>
              <a:t>Service Trailers, Hot Wash Trailer</a:t>
            </a:r>
          </a:p>
          <a:p>
            <a:endParaRPr lang="en-AU" dirty="0"/>
          </a:p>
          <a:p>
            <a:endParaRPr lang="en-AU" dirty="0"/>
          </a:p>
          <a:p>
            <a:endParaRPr lang="en-AU" dirty="0"/>
          </a:p>
          <a:p>
            <a:pPr marL="285750" indent="-285750">
              <a:buFont typeface="Arial" panose="020B0604020202020204" pitchFamily="34" charset="0"/>
              <a:buChar char="•"/>
            </a:pPr>
            <a:endParaRPr lang="en-AU" dirty="0"/>
          </a:p>
        </p:txBody>
      </p:sp>
      <p:sp>
        <p:nvSpPr>
          <p:cNvPr id="4" name="Slide Number Placeholder 3">
            <a:extLst>
              <a:ext uri="{FF2B5EF4-FFF2-40B4-BE49-F238E27FC236}">
                <a16:creationId xmlns:a16="http://schemas.microsoft.com/office/drawing/2014/main" id="{D29D570E-C3F6-C895-1B1D-FDD8C91E6248}"/>
              </a:ext>
            </a:extLst>
          </p:cNvPr>
          <p:cNvSpPr>
            <a:spLocks noGrp="1"/>
          </p:cNvSpPr>
          <p:nvPr>
            <p:ph type="sldNum" sz="quarter" idx="11"/>
          </p:nvPr>
        </p:nvSpPr>
        <p:spPr/>
        <p:txBody>
          <a:bodyPr/>
          <a:lstStyle/>
          <a:p>
            <a:r>
              <a:rPr lang="en-AU"/>
              <a:t> Offshore Mining and Civil  / </a:t>
            </a:r>
            <a:fld id="{CFD780AD-5876-4BCA-80DC-E96648A7269F}" type="slidenum">
              <a:rPr lang="en-AU" smtClean="0"/>
              <a:pPr/>
              <a:t>7</a:t>
            </a:fld>
            <a:endParaRPr lang="en-AU" dirty="0"/>
          </a:p>
        </p:txBody>
      </p:sp>
      <p:pic>
        <p:nvPicPr>
          <p:cNvPr id="5" name="Picture 4" descr="A picture containing truck, sky, outdoor, parked&#10;&#10;Description automatically generated">
            <a:extLst>
              <a:ext uri="{FF2B5EF4-FFF2-40B4-BE49-F238E27FC236}">
                <a16:creationId xmlns:a16="http://schemas.microsoft.com/office/drawing/2014/main" id="{7C2AF416-6A9E-A082-733F-50A736F1A1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84287" y="554436"/>
            <a:ext cx="2907024" cy="2180268"/>
          </a:xfrm>
          <a:prstGeom prst="rect">
            <a:avLst/>
          </a:prstGeom>
        </p:spPr>
      </p:pic>
      <p:pic>
        <p:nvPicPr>
          <p:cNvPr id="7" name="Picture 6" descr="A picture containing sky, truck, outdoor, yellow&#10;&#10;Description automatically generated">
            <a:extLst>
              <a:ext uri="{FF2B5EF4-FFF2-40B4-BE49-F238E27FC236}">
                <a16:creationId xmlns:a16="http://schemas.microsoft.com/office/drawing/2014/main" id="{42290455-7060-C593-CD45-0ABCA6CDB5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71175" y="3022735"/>
            <a:ext cx="3310053" cy="2482540"/>
          </a:xfrm>
          <a:prstGeom prst="rect">
            <a:avLst/>
          </a:prstGeom>
        </p:spPr>
      </p:pic>
      <p:pic>
        <p:nvPicPr>
          <p:cNvPr id="9" name="Picture 8" descr="A picture containing truck, road, yellow, ceiling&#10;&#10;Description automatically generated">
            <a:extLst>
              <a:ext uri="{FF2B5EF4-FFF2-40B4-BE49-F238E27FC236}">
                <a16:creationId xmlns:a16="http://schemas.microsoft.com/office/drawing/2014/main" id="{D8CFEC18-74AF-8553-80C0-68D07C8E4F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9000" y="5698964"/>
            <a:ext cx="2774563" cy="2080922"/>
          </a:xfrm>
          <a:prstGeom prst="rect">
            <a:avLst/>
          </a:prstGeom>
        </p:spPr>
      </p:pic>
    </p:spTree>
    <p:extLst>
      <p:ext uri="{BB962C8B-B14F-4D97-AF65-F5344CB8AC3E}">
        <p14:creationId xmlns:p14="http://schemas.microsoft.com/office/powerpoint/2010/main" val="321803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57C6B-BC53-4E94-B4CC-F06E95714D63}"/>
              </a:ext>
            </a:extLst>
          </p:cNvPr>
          <p:cNvSpPr>
            <a:spLocks noGrp="1"/>
          </p:cNvSpPr>
          <p:nvPr>
            <p:ph type="title"/>
          </p:nvPr>
        </p:nvSpPr>
        <p:spPr/>
        <p:txBody>
          <a:bodyPr/>
          <a:lstStyle/>
          <a:p>
            <a:pPr algn="ctr"/>
            <a:r>
              <a:rPr lang="en-AU" dirty="0"/>
              <a:t>Equipment Hire Projects</a:t>
            </a:r>
          </a:p>
        </p:txBody>
      </p:sp>
      <p:pic>
        <p:nvPicPr>
          <p:cNvPr id="7" name="Picture Placeholder 6" descr="A picture containing truck, sky, outdoor, transport&#10;&#10;Description automatically generated">
            <a:extLst>
              <a:ext uri="{FF2B5EF4-FFF2-40B4-BE49-F238E27FC236}">
                <a16:creationId xmlns:a16="http://schemas.microsoft.com/office/drawing/2014/main" id="{776FAE33-1501-4989-B477-BB44420167A3}"/>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t="9010" b="9010"/>
          <a:stretch>
            <a:fillRect/>
          </a:stretch>
        </p:blipFill>
        <p:spPr>
          <a:xfrm>
            <a:off x="-7143" y="3006329"/>
            <a:ext cx="2734190" cy="2241386"/>
          </a:xfrm>
        </p:spPr>
      </p:pic>
      <p:sp>
        <p:nvSpPr>
          <p:cNvPr id="4" name="Text Placeholder 3">
            <a:extLst>
              <a:ext uri="{FF2B5EF4-FFF2-40B4-BE49-F238E27FC236}">
                <a16:creationId xmlns:a16="http://schemas.microsoft.com/office/drawing/2014/main" id="{A3A03F3C-E443-43F3-A638-46AA5DF952CD}"/>
              </a:ext>
            </a:extLst>
          </p:cNvPr>
          <p:cNvSpPr>
            <a:spLocks noGrp="1"/>
          </p:cNvSpPr>
          <p:nvPr>
            <p:ph type="body" sz="quarter" idx="15"/>
          </p:nvPr>
        </p:nvSpPr>
        <p:spPr/>
        <p:txBody>
          <a:bodyPr/>
          <a:lstStyle/>
          <a:p>
            <a:endParaRPr lang="en-AU" dirty="0"/>
          </a:p>
        </p:txBody>
      </p:sp>
      <p:sp>
        <p:nvSpPr>
          <p:cNvPr id="5" name="Slide Number Placeholder 4">
            <a:extLst>
              <a:ext uri="{FF2B5EF4-FFF2-40B4-BE49-F238E27FC236}">
                <a16:creationId xmlns:a16="http://schemas.microsoft.com/office/drawing/2014/main" id="{9F1B0948-5D87-401A-B0B9-4FD432C30603}"/>
              </a:ext>
            </a:extLst>
          </p:cNvPr>
          <p:cNvSpPr>
            <a:spLocks noGrp="1"/>
          </p:cNvSpPr>
          <p:nvPr>
            <p:ph type="sldNum" sz="quarter" idx="16"/>
          </p:nvPr>
        </p:nvSpPr>
        <p:spPr/>
        <p:txBody>
          <a:bodyPr/>
          <a:lstStyle/>
          <a:p>
            <a:r>
              <a:rPr lang="en-AU" dirty="0"/>
              <a:t> Offshore Mining and Civil  / </a:t>
            </a:r>
            <a:fld id="{CFD780AD-5876-4BCA-80DC-E96648A7269F}" type="slidenum">
              <a:rPr lang="en-AU" smtClean="0"/>
              <a:pPr/>
              <a:t>8</a:t>
            </a:fld>
            <a:endParaRPr lang="en-AU" dirty="0"/>
          </a:p>
        </p:txBody>
      </p:sp>
      <p:graphicFrame>
        <p:nvGraphicFramePr>
          <p:cNvPr id="9" name="Table 9">
            <a:extLst>
              <a:ext uri="{FF2B5EF4-FFF2-40B4-BE49-F238E27FC236}">
                <a16:creationId xmlns:a16="http://schemas.microsoft.com/office/drawing/2014/main" id="{CD3DD4F8-DDB8-4BBF-9A8B-600BD3DF2D94}"/>
              </a:ext>
            </a:extLst>
          </p:cNvPr>
          <p:cNvGraphicFramePr>
            <a:graphicFrameLocks noGrp="1"/>
          </p:cNvGraphicFramePr>
          <p:nvPr>
            <p:extLst>
              <p:ext uri="{D42A27DB-BD31-4B8C-83A1-F6EECF244321}">
                <p14:modId xmlns:p14="http://schemas.microsoft.com/office/powerpoint/2010/main" val="3233752996"/>
              </p:ext>
            </p:extLst>
          </p:nvPr>
        </p:nvGraphicFramePr>
        <p:xfrm>
          <a:off x="2545520" y="3006329"/>
          <a:ext cx="4148418" cy="3797618"/>
        </p:xfrm>
        <a:graphic>
          <a:graphicData uri="http://schemas.openxmlformats.org/drawingml/2006/table">
            <a:tbl>
              <a:tblPr firstRow="1" bandRow="1">
                <a:tableStyleId>{5C22544A-7EE6-4342-B048-85BDC9FD1C3A}</a:tableStyleId>
              </a:tblPr>
              <a:tblGrid>
                <a:gridCol w="2131358">
                  <a:extLst>
                    <a:ext uri="{9D8B030D-6E8A-4147-A177-3AD203B41FA5}">
                      <a16:colId xmlns:a16="http://schemas.microsoft.com/office/drawing/2014/main" val="3578072950"/>
                    </a:ext>
                  </a:extLst>
                </a:gridCol>
                <a:gridCol w="1042148">
                  <a:extLst>
                    <a:ext uri="{9D8B030D-6E8A-4147-A177-3AD203B41FA5}">
                      <a16:colId xmlns:a16="http://schemas.microsoft.com/office/drawing/2014/main" val="1658823847"/>
                    </a:ext>
                  </a:extLst>
                </a:gridCol>
                <a:gridCol w="974912">
                  <a:extLst>
                    <a:ext uri="{9D8B030D-6E8A-4147-A177-3AD203B41FA5}">
                      <a16:colId xmlns:a16="http://schemas.microsoft.com/office/drawing/2014/main" val="1867094756"/>
                    </a:ext>
                  </a:extLst>
                </a:gridCol>
              </a:tblGrid>
              <a:tr h="197168">
                <a:tc>
                  <a:txBody>
                    <a:bodyPr/>
                    <a:lstStyle/>
                    <a:p>
                      <a:r>
                        <a:rPr lang="en-AU" sz="800" dirty="0"/>
                        <a:t>Project</a:t>
                      </a:r>
                    </a:p>
                  </a:txBody>
                  <a:tcPr marL="68580" marR="68580" marT="34290" marB="34290"/>
                </a:tc>
                <a:tc>
                  <a:txBody>
                    <a:bodyPr/>
                    <a:lstStyle/>
                    <a:p>
                      <a:r>
                        <a:rPr lang="en-AU" sz="800" dirty="0"/>
                        <a:t>Machinery </a:t>
                      </a:r>
                    </a:p>
                  </a:txBody>
                  <a:tcPr marL="68580" marR="68580" marT="34290" marB="34290"/>
                </a:tc>
                <a:tc>
                  <a:txBody>
                    <a:bodyPr/>
                    <a:lstStyle/>
                    <a:p>
                      <a:r>
                        <a:rPr lang="en-AU" sz="800" dirty="0"/>
                        <a:t>Client</a:t>
                      </a:r>
                    </a:p>
                  </a:txBody>
                  <a:tcPr marL="68580" marR="68580" marT="34290" marB="34290"/>
                </a:tc>
                <a:extLst>
                  <a:ext uri="{0D108BD9-81ED-4DB2-BD59-A6C34878D82A}">
                    <a16:rowId xmlns:a16="http://schemas.microsoft.com/office/drawing/2014/main" val="3944123127"/>
                  </a:ext>
                </a:extLst>
              </a:tr>
              <a:tr h="388620">
                <a:tc>
                  <a:txBody>
                    <a:bodyPr/>
                    <a:lstStyle/>
                    <a:p>
                      <a:r>
                        <a:rPr lang="en-AU" sz="700" dirty="0"/>
                        <a:t>Mesa A – haul road and highway realignment overpass</a:t>
                      </a:r>
                    </a:p>
                  </a:txBody>
                  <a:tcPr marL="68580" marR="68580" marT="34290" marB="34290"/>
                </a:tc>
                <a:tc>
                  <a:txBody>
                    <a:bodyPr/>
                    <a:lstStyle/>
                    <a:p>
                      <a:r>
                        <a:rPr lang="en-AU" sz="700" dirty="0"/>
                        <a:t>140M Graders</a:t>
                      </a:r>
                    </a:p>
                    <a:p>
                      <a:r>
                        <a:rPr lang="en-AU" sz="700" dirty="0"/>
                        <a:t>16H Grader</a:t>
                      </a:r>
                    </a:p>
                    <a:p>
                      <a:r>
                        <a:rPr lang="en-AU" sz="700" dirty="0"/>
                        <a:t>329DL Excavator</a:t>
                      </a:r>
                    </a:p>
                  </a:txBody>
                  <a:tcPr marL="68580" marR="68580" marT="34290" marB="34290"/>
                </a:tc>
                <a:tc>
                  <a:txBody>
                    <a:bodyPr/>
                    <a:lstStyle/>
                    <a:p>
                      <a:r>
                        <a:rPr lang="en-AU" sz="700" dirty="0"/>
                        <a:t>Downer</a:t>
                      </a:r>
                    </a:p>
                  </a:txBody>
                  <a:tcPr marL="68580" marR="68580" marT="34290" marB="34290"/>
                </a:tc>
                <a:extLst>
                  <a:ext uri="{0D108BD9-81ED-4DB2-BD59-A6C34878D82A}">
                    <a16:rowId xmlns:a16="http://schemas.microsoft.com/office/drawing/2014/main" val="3790308912"/>
                  </a:ext>
                </a:extLst>
              </a:tr>
              <a:tr h="495300">
                <a:tc>
                  <a:txBody>
                    <a:bodyPr/>
                    <a:lstStyle/>
                    <a:p>
                      <a:r>
                        <a:rPr lang="en-AU" sz="700" dirty="0"/>
                        <a:t>Binduli Mine start up</a:t>
                      </a:r>
                    </a:p>
                  </a:txBody>
                  <a:tcPr marL="68580" marR="68580" marT="34290" marB="34290"/>
                </a:tc>
                <a:tc>
                  <a:txBody>
                    <a:bodyPr/>
                    <a:lstStyle/>
                    <a:p>
                      <a:r>
                        <a:rPr lang="en-AU" sz="700" dirty="0"/>
                        <a:t>740 Dump Trucks</a:t>
                      </a:r>
                    </a:p>
                    <a:p>
                      <a:r>
                        <a:rPr lang="en-AU" sz="700" dirty="0"/>
                        <a:t>D9T Dozer</a:t>
                      </a:r>
                    </a:p>
                    <a:p>
                      <a:r>
                        <a:rPr lang="en-AU" sz="700" dirty="0"/>
                        <a:t>D8T Dozer</a:t>
                      </a:r>
                    </a:p>
                    <a:p>
                      <a:r>
                        <a:rPr lang="en-AU" sz="700" dirty="0"/>
                        <a:t>Service Truck</a:t>
                      </a:r>
                    </a:p>
                  </a:txBody>
                  <a:tcPr marL="68580" marR="68580" marT="34290" marB="34290"/>
                </a:tc>
                <a:tc>
                  <a:txBody>
                    <a:bodyPr/>
                    <a:lstStyle/>
                    <a:p>
                      <a:r>
                        <a:rPr lang="en-AU" sz="700" dirty="0"/>
                        <a:t>Cast Civil</a:t>
                      </a:r>
                    </a:p>
                  </a:txBody>
                  <a:tcPr marL="68580" marR="68580" marT="34290" marB="34290"/>
                </a:tc>
                <a:extLst>
                  <a:ext uri="{0D108BD9-81ED-4DB2-BD59-A6C34878D82A}">
                    <a16:rowId xmlns:a16="http://schemas.microsoft.com/office/drawing/2014/main" val="3974660305"/>
                  </a:ext>
                </a:extLst>
              </a:tr>
              <a:tr h="601980">
                <a:tc>
                  <a:txBody>
                    <a:bodyPr/>
                    <a:lstStyle/>
                    <a:p>
                      <a:r>
                        <a:rPr lang="en-AU" sz="700" dirty="0"/>
                        <a:t>Access road maintenance, drill pad / clearing</a:t>
                      </a:r>
                    </a:p>
                  </a:txBody>
                  <a:tcPr marL="68580" marR="68580" marT="34290" marB="34290"/>
                </a:tc>
                <a:tc>
                  <a:txBody>
                    <a:bodyPr/>
                    <a:lstStyle/>
                    <a:p>
                      <a:r>
                        <a:rPr lang="en-AU" sz="700" dirty="0"/>
                        <a:t>140M Graders</a:t>
                      </a:r>
                    </a:p>
                    <a:p>
                      <a:r>
                        <a:rPr lang="en-AU" sz="700" dirty="0"/>
                        <a:t>150M Grader</a:t>
                      </a:r>
                    </a:p>
                    <a:p>
                      <a:r>
                        <a:rPr lang="en-AU" sz="700" dirty="0"/>
                        <a:t>Padfoot Roller</a:t>
                      </a:r>
                    </a:p>
                    <a:p>
                      <a:r>
                        <a:rPr lang="en-AU" sz="700" dirty="0"/>
                        <a:t>D10T Dozer</a:t>
                      </a:r>
                    </a:p>
                    <a:p>
                      <a:r>
                        <a:rPr lang="en-AU" sz="700" dirty="0"/>
                        <a:t>IT Loader</a:t>
                      </a:r>
                    </a:p>
                  </a:txBody>
                  <a:tcPr marL="68580" marR="68580" marT="34290" marB="34290"/>
                </a:tc>
                <a:tc>
                  <a:txBody>
                    <a:bodyPr/>
                    <a:lstStyle/>
                    <a:p>
                      <a:r>
                        <a:rPr lang="en-AU" sz="700" dirty="0"/>
                        <a:t>MIB Traffic / FMG</a:t>
                      </a:r>
                    </a:p>
                  </a:txBody>
                  <a:tcPr marL="68580" marR="68580" marT="34290" marB="34290"/>
                </a:tc>
                <a:extLst>
                  <a:ext uri="{0D108BD9-81ED-4DB2-BD59-A6C34878D82A}">
                    <a16:rowId xmlns:a16="http://schemas.microsoft.com/office/drawing/2014/main" val="942303138"/>
                  </a:ext>
                </a:extLst>
              </a:tr>
              <a:tr h="388620">
                <a:tc>
                  <a:txBody>
                    <a:bodyPr/>
                    <a:lstStyle/>
                    <a:p>
                      <a:r>
                        <a:rPr lang="en-AU" sz="700" dirty="0"/>
                        <a:t>Brockman 2 &amp; 4 - inter site access road build</a:t>
                      </a:r>
                    </a:p>
                  </a:txBody>
                  <a:tcPr marL="68580" marR="68580" marT="34290" marB="34290"/>
                </a:tc>
                <a:tc>
                  <a:txBody>
                    <a:bodyPr/>
                    <a:lstStyle/>
                    <a:p>
                      <a:r>
                        <a:rPr lang="en-AU" sz="700" dirty="0"/>
                        <a:t>140M Grader</a:t>
                      </a:r>
                    </a:p>
                    <a:p>
                      <a:r>
                        <a:rPr lang="en-AU" sz="700" dirty="0"/>
                        <a:t>16H Grader</a:t>
                      </a:r>
                    </a:p>
                    <a:p>
                      <a:r>
                        <a:rPr lang="en-AU" sz="700" dirty="0"/>
                        <a:t>329DL Excavator</a:t>
                      </a:r>
                    </a:p>
                  </a:txBody>
                  <a:tcPr marL="68580" marR="68580" marT="34290" marB="34290"/>
                </a:tc>
                <a:tc>
                  <a:txBody>
                    <a:bodyPr/>
                    <a:lstStyle/>
                    <a:p>
                      <a:r>
                        <a:rPr lang="en-AU" sz="700" dirty="0"/>
                        <a:t>MACA Civil</a:t>
                      </a:r>
                    </a:p>
                  </a:txBody>
                  <a:tcPr marL="68580" marR="68580" marT="34290" marB="34290"/>
                </a:tc>
                <a:extLst>
                  <a:ext uri="{0D108BD9-81ED-4DB2-BD59-A6C34878D82A}">
                    <a16:rowId xmlns:a16="http://schemas.microsoft.com/office/drawing/2014/main" val="3352848630"/>
                  </a:ext>
                </a:extLst>
              </a:tr>
              <a:tr h="601980">
                <a:tc>
                  <a:txBody>
                    <a:bodyPr/>
                    <a:lstStyle/>
                    <a:p>
                      <a:r>
                        <a:rPr lang="en-AU" sz="700" dirty="0"/>
                        <a:t>Gold Road mine start up – building access track, haul road and runway upgrade</a:t>
                      </a:r>
                    </a:p>
                  </a:txBody>
                  <a:tcPr marL="68580" marR="68580" marT="34290" marB="34290"/>
                </a:tc>
                <a:tc>
                  <a:txBody>
                    <a:bodyPr/>
                    <a:lstStyle/>
                    <a:p>
                      <a:r>
                        <a:rPr lang="en-AU" sz="700" dirty="0"/>
                        <a:t>Watercart</a:t>
                      </a:r>
                    </a:p>
                    <a:p>
                      <a:r>
                        <a:rPr lang="en-AU" sz="700" dirty="0"/>
                        <a:t>D8T Dozer</a:t>
                      </a:r>
                    </a:p>
                    <a:p>
                      <a:r>
                        <a:rPr lang="en-AU" sz="700" dirty="0"/>
                        <a:t>140M Grader</a:t>
                      </a:r>
                    </a:p>
                    <a:p>
                      <a:r>
                        <a:rPr lang="en-AU" sz="700" dirty="0"/>
                        <a:t>16H Grader</a:t>
                      </a:r>
                    </a:p>
                    <a:p>
                      <a:r>
                        <a:rPr lang="en-AU" sz="700" dirty="0"/>
                        <a:t>329DL Excavator</a:t>
                      </a:r>
                    </a:p>
                  </a:txBody>
                  <a:tcPr marL="68580" marR="68580" marT="34290" marB="34290"/>
                </a:tc>
                <a:tc>
                  <a:txBody>
                    <a:bodyPr/>
                    <a:lstStyle/>
                    <a:p>
                      <a:r>
                        <a:rPr lang="en-AU" sz="700" dirty="0"/>
                        <a:t>MACA Civil &amp; MACA Mining</a:t>
                      </a:r>
                    </a:p>
                  </a:txBody>
                  <a:tcPr marL="68580" marR="68580" marT="34290" marB="34290"/>
                </a:tc>
                <a:extLst>
                  <a:ext uri="{0D108BD9-81ED-4DB2-BD59-A6C34878D82A}">
                    <a16:rowId xmlns:a16="http://schemas.microsoft.com/office/drawing/2014/main" val="1446138903"/>
                  </a:ext>
                </a:extLst>
              </a:tr>
              <a:tr h="281940">
                <a:tc>
                  <a:txBody>
                    <a:bodyPr/>
                    <a:lstStyle/>
                    <a:p>
                      <a:r>
                        <a:rPr lang="en-AU" sz="700" dirty="0"/>
                        <a:t>Boddington - crushing and screening project</a:t>
                      </a:r>
                    </a:p>
                  </a:txBody>
                  <a:tcPr marL="68580" marR="68580" marT="34290" marB="34290"/>
                </a:tc>
                <a:tc>
                  <a:txBody>
                    <a:bodyPr/>
                    <a:lstStyle/>
                    <a:p>
                      <a:r>
                        <a:rPr lang="en-AU" sz="700" dirty="0"/>
                        <a:t>980M Loader</a:t>
                      </a:r>
                    </a:p>
                    <a:p>
                      <a:r>
                        <a:rPr lang="en-AU" sz="700" dirty="0"/>
                        <a:t>988K Loader</a:t>
                      </a:r>
                    </a:p>
                  </a:txBody>
                  <a:tcPr marL="68580" marR="68580" marT="34290" marB="34290"/>
                </a:tc>
                <a:tc>
                  <a:txBody>
                    <a:bodyPr/>
                    <a:lstStyle/>
                    <a:p>
                      <a:r>
                        <a:rPr lang="en-AU" sz="700" dirty="0"/>
                        <a:t>Centrals Earthmoving</a:t>
                      </a:r>
                    </a:p>
                  </a:txBody>
                  <a:tcPr marL="68580" marR="68580" marT="34290" marB="34290"/>
                </a:tc>
                <a:extLst>
                  <a:ext uri="{0D108BD9-81ED-4DB2-BD59-A6C34878D82A}">
                    <a16:rowId xmlns:a16="http://schemas.microsoft.com/office/drawing/2014/main" val="1262119197"/>
                  </a:ext>
                </a:extLst>
              </a:tr>
              <a:tr h="278130">
                <a:tc>
                  <a:txBody>
                    <a:bodyPr/>
                    <a:lstStyle/>
                    <a:p>
                      <a:r>
                        <a:rPr lang="en-AU" sz="700" dirty="0"/>
                        <a:t>Spinifex Ridge</a:t>
                      </a:r>
                    </a:p>
                  </a:txBody>
                  <a:tcPr marL="68580" marR="68580" marT="34290" marB="34290"/>
                </a:tc>
                <a:tc>
                  <a:txBody>
                    <a:bodyPr/>
                    <a:lstStyle/>
                    <a:p>
                      <a:r>
                        <a:rPr lang="en-AU" sz="700" dirty="0"/>
                        <a:t>740 Artic Dump Trucks</a:t>
                      </a:r>
                    </a:p>
                  </a:txBody>
                  <a:tcPr marL="68580" marR="68580" marT="34290" marB="34290"/>
                </a:tc>
                <a:tc>
                  <a:txBody>
                    <a:bodyPr/>
                    <a:lstStyle/>
                    <a:p>
                      <a:r>
                        <a:rPr lang="en-AU" sz="700" dirty="0"/>
                        <a:t>Mulitplant Holdings</a:t>
                      </a:r>
                    </a:p>
                  </a:txBody>
                  <a:tcPr marL="68580" marR="68580" marT="34290" marB="34290"/>
                </a:tc>
                <a:extLst>
                  <a:ext uri="{0D108BD9-81ED-4DB2-BD59-A6C34878D82A}">
                    <a16:rowId xmlns:a16="http://schemas.microsoft.com/office/drawing/2014/main" val="263624113"/>
                  </a:ext>
                </a:extLst>
              </a:tr>
              <a:tr h="281940">
                <a:tc>
                  <a:txBody>
                    <a:bodyPr/>
                    <a:lstStyle/>
                    <a:p>
                      <a:r>
                        <a:rPr lang="en-AU" sz="700" dirty="0"/>
                        <a:t>St Barbara -tailing dam upgrade and access road maintenance</a:t>
                      </a:r>
                    </a:p>
                  </a:txBody>
                  <a:tcPr marL="68580" marR="68580" marT="34290" marB="34290"/>
                </a:tc>
                <a:tc>
                  <a:txBody>
                    <a:bodyPr/>
                    <a:lstStyle/>
                    <a:p>
                      <a:r>
                        <a:rPr lang="en-AU" sz="700" dirty="0"/>
                        <a:t>50T Excavator</a:t>
                      </a:r>
                    </a:p>
                    <a:p>
                      <a:r>
                        <a:rPr lang="en-AU" sz="700" dirty="0"/>
                        <a:t>140M </a:t>
                      </a:r>
                    </a:p>
                  </a:txBody>
                  <a:tcPr marL="68580" marR="68580" marT="34290" marB="34290"/>
                </a:tc>
                <a:tc>
                  <a:txBody>
                    <a:bodyPr/>
                    <a:lstStyle/>
                    <a:p>
                      <a:r>
                        <a:rPr lang="en-AU" sz="700" dirty="0"/>
                        <a:t>Wolf Contracting</a:t>
                      </a:r>
                    </a:p>
                  </a:txBody>
                  <a:tcPr marL="68580" marR="68580" marT="34290" marB="34290"/>
                </a:tc>
                <a:extLst>
                  <a:ext uri="{0D108BD9-81ED-4DB2-BD59-A6C34878D82A}">
                    <a16:rowId xmlns:a16="http://schemas.microsoft.com/office/drawing/2014/main" val="2612213665"/>
                  </a:ext>
                </a:extLst>
              </a:tr>
              <a:tr h="281940">
                <a:tc>
                  <a:txBody>
                    <a:bodyPr/>
                    <a:lstStyle/>
                    <a:p>
                      <a:r>
                        <a:rPr lang="en-AU" sz="700" dirty="0"/>
                        <a:t>Shay Gap – runway upgrade</a:t>
                      </a:r>
                    </a:p>
                  </a:txBody>
                  <a:tcPr marL="68580" marR="68580" marT="34290" marB="34290"/>
                </a:tc>
                <a:tc>
                  <a:txBody>
                    <a:bodyPr/>
                    <a:lstStyle/>
                    <a:p>
                      <a:r>
                        <a:rPr lang="en-AU" sz="700" dirty="0"/>
                        <a:t>140M Grader</a:t>
                      </a:r>
                    </a:p>
                    <a:p>
                      <a:r>
                        <a:rPr lang="en-AU" sz="700" dirty="0"/>
                        <a:t>16H Grader</a:t>
                      </a:r>
                    </a:p>
                  </a:txBody>
                  <a:tcPr marL="68580" marR="68580" marT="34290" marB="34290"/>
                </a:tc>
                <a:tc>
                  <a:txBody>
                    <a:bodyPr/>
                    <a:lstStyle/>
                    <a:p>
                      <a:r>
                        <a:rPr lang="en-AU" sz="700" dirty="0"/>
                        <a:t>Downer / BHP</a:t>
                      </a:r>
                    </a:p>
                  </a:txBody>
                  <a:tcPr marL="68580" marR="68580" marT="34290" marB="34290"/>
                </a:tc>
                <a:extLst>
                  <a:ext uri="{0D108BD9-81ED-4DB2-BD59-A6C34878D82A}">
                    <a16:rowId xmlns:a16="http://schemas.microsoft.com/office/drawing/2014/main" val="862771234"/>
                  </a:ext>
                </a:extLst>
              </a:tr>
            </a:tbl>
          </a:graphicData>
        </a:graphic>
      </p:graphicFrame>
    </p:spTree>
    <p:extLst>
      <p:ext uri="{BB962C8B-B14F-4D97-AF65-F5344CB8AC3E}">
        <p14:creationId xmlns:p14="http://schemas.microsoft.com/office/powerpoint/2010/main" val="119958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F3065-DB9B-4418-AB0A-D875EAF6FCB6}"/>
              </a:ext>
            </a:extLst>
          </p:cNvPr>
          <p:cNvSpPr>
            <a:spLocks noGrp="1"/>
          </p:cNvSpPr>
          <p:nvPr>
            <p:ph type="title"/>
          </p:nvPr>
        </p:nvSpPr>
        <p:spPr/>
        <p:txBody>
          <a:bodyPr/>
          <a:lstStyle/>
          <a:p>
            <a:pPr algn="ctr"/>
            <a:r>
              <a:rPr lang="en-AU" dirty="0"/>
              <a:t>Maddington Workshop	</a:t>
            </a:r>
          </a:p>
        </p:txBody>
      </p:sp>
      <p:pic>
        <p:nvPicPr>
          <p:cNvPr id="6" name="Content Placeholder 5">
            <a:extLst>
              <a:ext uri="{FF2B5EF4-FFF2-40B4-BE49-F238E27FC236}">
                <a16:creationId xmlns:a16="http://schemas.microsoft.com/office/drawing/2014/main" id="{6F70BB84-55EF-44FE-8B23-8B0BB5CEC46C}"/>
              </a:ext>
            </a:extLst>
          </p:cNvPr>
          <p:cNvPicPr>
            <a:picLocks noGrp="1" noChangeAspect="1"/>
          </p:cNvPicPr>
          <p:nvPr>
            <p:ph sz="quarter" idx="10"/>
          </p:nvPr>
        </p:nvPicPr>
        <p:blipFill>
          <a:blip r:embed="rId2" cstate="print">
            <a:extLst>
              <a:ext uri="{28A0092B-C50C-407E-A947-70E740481C1C}">
                <a14:useLocalDpi xmlns:a14="http://schemas.microsoft.com/office/drawing/2010/main" val="0"/>
              </a:ext>
            </a:extLst>
          </a:blip>
          <a:stretch>
            <a:fillRect/>
          </a:stretch>
        </p:blipFill>
        <p:spPr>
          <a:xfrm>
            <a:off x="185861" y="3820967"/>
            <a:ext cx="1628905" cy="122167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4" name="Slide Number Placeholder 3">
            <a:extLst>
              <a:ext uri="{FF2B5EF4-FFF2-40B4-BE49-F238E27FC236}">
                <a16:creationId xmlns:a16="http://schemas.microsoft.com/office/drawing/2014/main" id="{2EC26587-D6CC-4FF1-8A2C-D0232B6A99C2}"/>
              </a:ext>
            </a:extLst>
          </p:cNvPr>
          <p:cNvSpPr>
            <a:spLocks noGrp="1"/>
          </p:cNvSpPr>
          <p:nvPr>
            <p:ph type="sldNum" sz="quarter" idx="11"/>
          </p:nvPr>
        </p:nvSpPr>
        <p:spPr/>
        <p:txBody>
          <a:bodyPr/>
          <a:lstStyle/>
          <a:p>
            <a:r>
              <a:rPr lang="en-AU" dirty="0"/>
              <a:t> Offshore Mining and Civil  / </a:t>
            </a:r>
            <a:fld id="{CFD780AD-5876-4BCA-80DC-E96648A7269F}" type="slidenum">
              <a:rPr lang="en-AU" smtClean="0"/>
              <a:pPr/>
              <a:t>9</a:t>
            </a:fld>
            <a:endParaRPr lang="en-AU" dirty="0"/>
          </a:p>
        </p:txBody>
      </p:sp>
      <p:pic>
        <p:nvPicPr>
          <p:cNvPr id="8" name="Picture 7">
            <a:extLst>
              <a:ext uri="{FF2B5EF4-FFF2-40B4-BE49-F238E27FC236}">
                <a16:creationId xmlns:a16="http://schemas.microsoft.com/office/drawing/2014/main" id="{53445F68-568E-4022-86BB-C2D3506FA3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1476" y="4758551"/>
            <a:ext cx="2023132" cy="151734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0" name="Picture 9">
            <a:extLst>
              <a:ext uri="{FF2B5EF4-FFF2-40B4-BE49-F238E27FC236}">
                <a16:creationId xmlns:a16="http://schemas.microsoft.com/office/drawing/2014/main" id="{7125B9B4-AF05-4888-BB7D-7FCBE06A717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9513" y="5679978"/>
            <a:ext cx="1815175" cy="136138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1" name="TextBox 10">
            <a:extLst>
              <a:ext uri="{FF2B5EF4-FFF2-40B4-BE49-F238E27FC236}">
                <a16:creationId xmlns:a16="http://schemas.microsoft.com/office/drawing/2014/main" id="{1963D44A-8B62-4373-8889-E1AB11DDC8DC}"/>
              </a:ext>
            </a:extLst>
          </p:cNvPr>
          <p:cNvSpPr txBox="1"/>
          <p:nvPr/>
        </p:nvSpPr>
        <p:spPr>
          <a:xfrm>
            <a:off x="3765348" y="3907168"/>
            <a:ext cx="3092652" cy="1633845"/>
          </a:xfrm>
          <a:prstGeom prst="rect">
            <a:avLst/>
          </a:prstGeom>
          <a:noFill/>
        </p:spPr>
        <p:txBody>
          <a:bodyPr wrap="square" rtlCol="0">
            <a:spAutoFit/>
          </a:bodyPr>
          <a:lstStyle/>
          <a:p>
            <a:r>
              <a:rPr lang="en-AU" sz="788" dirty="0"/>
              <a:t>Located at 172 Maddington Road Maddington our workshop is equipped with skilled and knowledgeable staff, with all the required tooling, to perform your maintenance and servicing requirements as well as full machine rebuilds, fabrication works, component rebuilds, mine spec fit outs and much more. </a:t>
            </a:r>
          </a:p>
          <a:p>
            <a:endParaRPr lang="en-AU" sz="788" dirty="0"/>
          </a:p>
          <a:p>
            <a:r>
              <a:rPr lang="en-AU" sz="788" dirty="0"/>
              <a:t>Workshop facility</a:t>
            </a:r>
          </a:p>
          <a:p>
            <a:endParaRPr lang="en-AU" sz="788" dirty="0"/>
          </a:p>
          <a:p>
            <a:pPr marL="214303" indent="-214303">
              <a:buFont typeface="Arial" panose="020B0604020202020204" pitchFamily="34" charset="0"/>
              <a:buChar char="•"/>
            </a:pPr>
            <a:r>
              <a:rPr lang="en-AU" sz="788" dirty="0"/>
              <a:t>11000 sqm yard capacity</a:t>
            </a:r>
          </a:p>
          <a:p>
            <a:pPr marL="214303" indent="-214303">
              <a:buFont typeface="Arial" panose="020B0604020202020204" pitchFamily="34" charset="0"/>
              <a:buChar char="•"/>
            </a:pPr>
            <a:r>
              <a:rPr lang="en-AU" sz="788" dirty="0"/>
              <a:t>Certified wash pad</a:t>
            </a:r>
          </a:p>
          <a:p>
            <a:pPr marL="214303" indent="-214303">
              <a:buFont typeface="Arial" panose="020B0604020202020204" pitchFamily="34" charset="0"/>
              <a:buChar char="•"/>
            </a:pPr>
            <a:r>
              <a:rPr lang="en-AU" sz="788" dirty="0"/>
              <a:t>Road train / float access</a:t>
            </a:r>
          </a:p>
          <a:p>
            <a:pPr marL="214303" indent="-214303">
              <a:buFont typeface="Arial" panose="020B0604020202020204" pitchFamily="34" charset="0"/>
              <a:buChar char="•"/>
            </a:pPr>
            <a:endParaRPr lang="en-AU" sz="1350" dirty="0"/>
          </a:p>
        </p:txBody>
      </p:sp>
      <p:pic>
        <p:nvPicPr>
          <p:cNvPr id="13" name="Picture 12">
            <a:extLst>
              <a:ext uri="{FF2B5EF4-FFF2-40B4-BE49-F238E27FC236}">
                <a16:creationId xmlns:a16="http://schemas.microsoft.com/office/drawing/2014/main" id="{A53FAD45-8651-41CB-B0B7-5EECAF942D4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68692" y="2803477"/>
            <a:ext cx="1815175" cy="136138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5" name="Picture 4" descr="A picture containing tree, outdoor, sky, truck&#10;&#10;Description automatically generated">
            <a:extLst>
              <a:ext uri="{FF2B5EF4-FFF2-40B4-BE49-F238E27FC236}">
                <a16:creationId xmlns:a16="http://schemas.microsoft.com/office/drawing/2014/main" id="{4D6D33A3-2407-9C19-4791-ACB7D70448B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69364" y="6695304"/>
            <a:ext cx="2832410" cy="2124308"/>
          </a:xfrm>
          <a:prstGeom prst="rect">
            <a:avLst/>
          </a:prstGeom>
        </p:spPr>
      </p:pic>
      <p:pic>
        <p:nvPicPr>
          <p:cNvPr id="9" name="Picture 8" descr="A picture containing truck, sky, outdoor, road&#10;&#10;Description automatically generated">
            <a:extLst>
              <a:ext uri="{FF2B5EF4-FFF2-40B4-BE49-F238E27FC236}">
                <a16:creationId xmlns:a16="http://schemas.microsoft.com/office/drawing/2014/main" id="{FDBA8469-8673-DF48-87D1-2EEFFA5EF23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42596" y="1156024"/>
            <a:ext cx="2827959" cy="2120969"/>
          </a:xfrm>
          <a:prstGeom prst="rect">
            <a:avLst/>
          </a:prstGeom>
        </p:spPr>
      </p:pic>
      <p:pic>
        <p:nvPicPr>
          <p:cNvPr id="14" name="Picture 13" descr="A picture containing indoor&#10;&#10;Description automatically generated">
            <a:extLst>
              <a:ext uri="{FF2B5EF4-FFF2-40B4-BE49-F238E27FC236}">
                <a16:creationId xmlns:a16="http://schemas.microsoft.com/office/drawing/2014/main" id="{DAC9F60C-ECF3-D584-7677-8C89318D801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8250" y="1540674"/>
            <a:ext cx="1964688" cy="1473516"/>
          </a:xfrm>
          <a:prstGeom prst="rect">
            <a:avLst/>
          </a:prstGeom>
        </p:spPr>
      </p:pic>
      <p:pic>
        <p:nvPicPr>
          <p:cNvPr id="18" name="Picture 17" descr="A picture containing truck, farm machine&#10;&#10;Description automatically generated">
            <a:extLst>
              <a:ext uri="{FF2B5EF4-FFF2-40B4-BE49-F238E27FC236}">
                <a16:creationId xmlns:a16="http://schemas.microsoft.com/office/drawing/2014/main" id="{A905F9C9-34F9-10D0-7AFA-C698DE996C3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0" y="7234543"/>
            <a:ext cx="3094783" cy="1727424"/>
          </a:xfrm>
          <a:prstGeom prst="rect">
            <a:avLst/>
          </a:prstGeom>
        </p:spPr>
      </p:pic>
      <p:pic>
        <p:nvPicPr>
          <p:cNvPr id="20" name="Picture 19" descr="A picture containing indoor, several&#10;&#10;Description automatically generated">
            <a:extLst>
              <a:ext uri="{FF2B5EF4-FFF2-40B4-BE49-F238E27FC236}">
                <a16:creationId xmlns:a16="http://schemas.microsoft.com/office/drawing/2014/main" id="{D7C326D7-F1C5-819A-D93A-6765257AD26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865172" y="1253571"/>
            <a:ext cx="1951696" cy="1463772"/>
          </a:xfrm>
          <a:prstGeom prst="rect">
            <a:avLst/>
          </a:prstGeom>
        </p:spPr>
      </p:pic>
      <p:pic>
        <p:nvPicPr>
          <p:cNvPr id="22" name="Picture 21">
            <a:extLst>
              <a:ext uri="{FF2B5EF4-FFF2-40B4-BE49-F238E27FC236}">
                <a16:creationId xmlns:a16="http://schemas.microsoft.com/office/drawing/2014/main" id="{8FFF7010-EC2F-C4D9-A39F-FCFA28BDF01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5400000">
            <a:off x="4522848" y="5042536"/>
            <a:ext cx="2497873" cy="1873405"/>
          </a:xfrm>
          <a:prstGeom prst="rect">
            <a:avLst/>
          </a:prstGeom>
        </p:spPr>
      </p:pic>
      <p:pic>
        <p:nvPicPr>
          <p:cNvPr id="24" name="Picture 23">
            <a:extLst>
              <a:ext uri="{FF2B5EF4-FFF2-40B4-BE49-F238E27FC236}">
                <a16:creationId xmlns:a16="http://schemas.microsoft.com/office/drawing/2014/main" id="{F9CCB1E4-A694-1BE6-9E25-826D058E643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444944" y="2384842"/>
            <a:ext cx="2406382" cy="1804786"/>
          </a:xfrm>
          <a:prstGeom prst="rect">
            <a:avLst/>
          </a:prstGeom>
        </p:spPr>
      </p:pic>
    </p:spTree>
    <p:extLst>
      <p:ext uri="{BB962C8B-B14F-4D97-AF65-F5344CB8AC3E}">
        <p14:creationId xmlns:p14="http://schemas.microsoft.com/office/powerpoint/2010/main" val="217783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_Light_Advisian">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5F83"/>
      </a:accent6>
      <a:hlink>
        <a:srgbClr val="005F83"/>
      </a:hlink>
      <a:folHlink>
        <a:srgbClr val="00AEEF"/>
      </a:folHlink>
    </a:clrScheme>
    <a:fontScheme name="Advisian Fonts Brand 2">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9_PPT_Light_Advisian">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5F83"/>
      </a:accent6>
      <a:hlink>
        <a:srgbClr val="005F83"/>
      </a:hlink>
      <a:folHlink>
        <a:srgbClr val="00AEEF"/>
      </a:folHlink>
    </a:clrScheme>
    <a:fontScheme name="Advisian Fonts Brand 2">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AdvisianLightTemplate_Pres_Temp_Glo_1215">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5F83"/>
      </a:accent6>
      <a:hlink>
        <a:srgbClr val="005F83"/>
      </a:hlink>
      <a:folHlink>
        <a:srgbClr val="00AEEF"/>
      </a:folHlink>
    </a:clrScheme>
    <a:fontScheme name="Advisian Fonts Brand 2">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9_AdvisianLightTemplate_Pres_Temp_Glo_1215">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5F83"/>
      </a:accent6>
      <a:hlink>
        <a:srgbClr val="005F83"/>
      </a:hlink>
      <a:folHlink>
        <a:srgbClr val="00AEEF"/>
      </a:folHlink>
    </a:clrScheme>
    <a:fontScheme name="Advisian Fonts Brand 2">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0_AdvisianLightTemplate_Pres_Temp_Glo_1215">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5F83"/>
      </a:accent6>
      <a:hlink>
        <a:srgbClr val="005F83"/>
      </a:hlink>
      <a:folHlink>
        <a:srgbClr val="00AEEF"/>
      </a:folHlink>
    </a:clrScheme>
    <a:fontScheme name="Advisian Fonts Brand 2">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2_AdvisianLightTemplate_Pres_Temp_Glo_1215">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5F83"/>
      </a:accent6>
      <a:hlink>
        <a:srgbClr val="005F83"/>
      </a:hlink>
      <a:folHlink>
        <a:srgbClr val="00AEEF"/>
      </a:folHlink>
    </a:clrScheme>
    <a:fontScheme name="Advisian Fonts Brand 2">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Light_Advisian</Template>
  <TotalTime>15083</TotalTime>
  <Words>837</Words>
  <Application>Microsoft Office PowerPoint</Application>
  <PresentationFormat>On-screen Show (4:3)</PresentationFormat>
  <Paragraphs>129</Paragraphs>
  <Slides>14</Slides>
  <Notes>1</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28" baseType="lpstr">
      <vt:lpstr>Arial</vt:lpstr>
      <vt:lpstr>Calibri</vt:lpstr>
      <vt:lpstr>Franklin Gothic Book</vt:lpstr>
      <vt:lpstr>Georgia</vt:lpstr>
      <vt:lpstr>Segoe UI</vt:lpstr>
      <vt:lpstr>Segoe UI Semibold</vt:lpstr>
      <vt:lpstr>Wingdings</vt:lpstr>
      <vt:lpstr>PPT_Light_Advisian</vt:lpstr>
      <vt:lpstr>29_PPT_Light_Advisian</vt:lpstr>
      <vt:lpstr>4_AdvisianLightTemplate_Pres_Temp_Glo_1215</vt:lpstr>
      <vt:lpstr>19_AdvisianLightTemplate_Pres_Temp_Glo_1215</vt:lpstr>
      <vt:lpstr>20_AdvisianLightTemplate_Pres_Temp_Glo_1215</vt:lpstr>
      <vt:lpstr>22_AdvisianLightTemplate_Pres_Temp_Glo_1215</vt:lpstr>
      <vt:lpstr>think-cell Slide</vt:lpstr>
      <vt:lpstr>PowerPoint Presentation</vt:lpstr>
      <vt:lpstr>Company Profile </vt:lpstr>
      <vt:lpstr>OMC Labour Support &amp; Rapid Response </vt:lpstr>
      <vt:lpstr>Labour Support Projects </vt:lpstr>
      <vt:lpstr>Railforce Resources</vt:lpstr>
      <vt:lpstr>Equipment Hire </vt:lpstr>
      <vt:lpstr>Fleet </vt:lpstr>
      <vt:lpstr>Equipment Hire Projects</vt:lpstr>
      <vt:lpstr>Maddington Workshop </vt:lpstr>
      <vt:lpstr>Maddington workshop Before &amp; After </vt:lpstr>
      <vt:lpstr>PowerPoint Presentation</vt:lpstr>
      <vt:lpstr>PowerPoint Presentation</vt:lpstr>
      <vt:lpstr>Sample pictures </vt:lpstr>
      <vt:lpstr>Key Personal &amp; Contacts </vt:lpstr>
    </vt:vector>
  </TitlesOfParts>
  <Company>WorleyPars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Chris King-Sidney</dc:creator>
  <cp:lastModifiedBy>OMC Accounts</cp:lastModifiedBy>
  <cp:revision>908</cp:revision>
  <cp:lastPrinted>2022-02-24T06:20:51Z</cp:lastPrinted>
  <dcterms:created xsi:type="dcterms:W3CDTF">2016-04-06T08:19:30Z</dcterms:created>
  <dcterms:modified xsi:type="dcterms:W3CDTF">2023-04-06T09:36:26Z</dcterms:modified>
</cp:coreProperties>
</file>